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0" r:id="rId4"/>
    <p:sldId id="258" r:id="rId5"/>
    <p:sldId id="259" r:id="rId6"/>
  </p:sldIdLst>
  <p:sldSz cx="12192000" cy="6858000"/>
  <p:notesSz cx="6858000" cy="9144000"/>
  <p:custDataLst>
    <p:tags r:id="rId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  <a:srgbClr val="00B050"/>
    <a:srgbClr val="CC9900"/>
    <a:srgbClr val="800080"/>
    <a:srgbClr val="CC0099"/>
    <a:srgbClr val="FF9900"/>
    <a:srgbClr val="008080"/>
    <a:srgbClr val="FFFF99"/>
    <a:srgbClr val="FF7C80"/>
    <a:srgbClr val="3B97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6FAF42-3D94-44F6-ACA6-45C1B525054F}" v="524" dt="2022-06-12T20:15:24.862"/>
    <p1510:client id="{F38F8BE7-0006-48F0-A674-FE246E21BC4B}" v="742" dt="2022-06-13T00:39:21.4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1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Pelaez" userId="cbc59824-fd90-4c3e-a66e-bac696fc3be6" providerId="ADAL" clId="{F38F8BE7-0006-48F0-A674-FE246E21BC4B}"/>
    <pc:docChg chg="undo custSel addSld modSld">
      <pc:chgData name="Alex Pelaez" userId="cbc59824-fd90-4c3e-a66e-bac696fc3be6" providerId="ADAL" clId="{F38F8BE7-0006-48F0-A674-FE246E21BC4B}" dt="2022-06-13T00:38:39.605" v="976" actId="207"/>
      <pc:docMkLst>
        <pc:docMk/>
      </pc:docMkLst>
      <pc:sldChg chg="addSp delSp modSp mod">
        <pc:chgData name="Alex Pelaez" userId="cbc59824-fd90-4c3e-a66e-bac696fc3be6" providerId="ADAL" clId="{F38F8BE7-0006-48F0-A674-FE246E21BC4B}" dt="2022-06-13T00:38:39.605" v="976" actId="207"/>
        <pc:sldMkLst>
          <pc:docMk/>
          <pc:sldMk cId="3072934698" sldId="256"/>
        </pc:sldMkLst>
        <pc:spChg chg="add mod">
          <ac:chgData name="Alex Pelaez" userId="cbc59824-fd90-4c3e-a66e-bac696fc3be6" providerId="ADAL" clId="{F38F8BE7-0006-48F0-A674-FE246E21BC4B}" dt="2022-06-12T20:30:03.510" v="61" actId="164"/>
          <ac:spMkLst>
            <pc:docMk/>
            <pc:sldMk cId="3072934698" sldId="256"/>
            <ac:spMk id="2" creationId="{4AA528EF-368A-407A-AE3D-7CA2B77266AA}"/>
          </ac:spMkLst>
        </pc:spChg>
        <pc:spChg chg="add mod">
          <ac:chgData name="Alex Pelaez" userId="cbc59824-fd90-4c3e-a66e-bac696fc3be6" providerId="ADAL" clId="{F38F8BE7-0006-48F0-A674-FE246E21BC4B}" dt="2022-06-12T20:30:03.510" v="61" actId="164"/>
          <ac:spMkLst>
            <pc:docMk/>
            <pc:sldMk cId="3072934698" sldId="256"/>
            <ac:spMk id="3" creationId="{218D803F-7F7F-4F7E-A6C0-6F52C8BDA043}"/>
          </ac:spMkLst>
        </pc:spChg>
        <pc:spChg chg="add mod">
          <ac:chgData name="Alex Pelaez" userId="cbc59824-fd90-4c3e-a66e-bac696fc3be6" providerId="ADAL" clId="{F38F8BE7-0006-48F0-A674-FE246E21BC4B}" dt="2022-06-12T20:31:55.199" v="83" actId="207"/>
          <ac:spMkLst>
            <pc:docMk/>
            <pc:sldMk cId="3072934698" sldId="256"/>
            <ac:spMk id="5" creationId="{2FABBA20-0A3D-46B6-9E02-66D5B891AEB1}"/>
          </ac:spMkLst>
        </pc:spChg>
        <pc:spChg chg="mod">
          <ac:chgData name="Alex Pelaez" userId="cbc59824-fd90-4c3e-a66e-bac696fc3be6" providerId="ADAL" clId="{F38F8BE7-0006-48F0-A674-FE246E21BC4B}" dt="2022-06-13T00:38:39.605" v="976" actId="207"/>
          <ac:spMkLst>
            <pc:docMk/>
            <pc:sldMk cId="3072934698" sldId="256"/>
            <ac:spMk id="41" creationId="{40A62A94-99C4-4DFF-B5A3-D03B6E69FC2C}"/>
          </ac:spMkLst>
        </pc:spChg>
        <pc:spChg chg="mod">
          <ac:chgData name="Alex Pelaez" userId="cbc59824-fd90-4c3e-a66e-bac696fc3be6" providerId="ADAL" clId="{F38F8BE7-0006-48F0-A674-FE246E21BC4B}" dt="2022-06-12T20:17:16.751" v="10" actId="1076"/>
          <ac:spMkLst>
            <pc:docMk/>
            <pc:sldMk cId="3072934698" sldId="256"/>
            <ac:spMk id="60" creationId="{8D9EE6EE-FE14-42ED-B3E4-01726BF15EEC}"/>
          </ac:spMkLst>
        </pc:spChg>
        <pc:spChg chg="mod">
          <ac:chgData name="Alex Pelaez" userId="cbc59824-fd90-4c3e-a66e-bac696fc3be6" providerId="ADAL" clId="{F38F8BE7-0006-48F0-A674-FE246E21BC4B}" dt="2022-06-12T20:17:43.039" v="16" actId="1076"/>
          <ac:spMkLst>
            <pc:docMk/>
            <pc:sldMk cId="3072934698" sldId="256"/>
            <ac:spMk id="75" creationId="{02BB37E2-115E-40EC-AA62-F9D2DD545436}"/>
          </ac:spMkLst>
        </pc:spChg>
        <pc:spChg chg="mod">
          <ac:chgData name="Alex Pelaez" userId="cbc59824-fd90-4c3e-a66e-bac696fc3be6" providerId="ADAL" clId="{F38F8BE7-0006-48F0-A674-FE246E21BC4B}" dt="2022-06-12T20:17:35.578" v="14" actId="1076"/>
          <ac:spMkLst>
            <pc:docMk/>
            <pc:sldMk cId="3072934698" sldId="256"/>
            <ac:spMk id="85" creationId="{034C7E7F-E823-462A-AEBC-8384B326B8DE}"/>
          </ac:spMkLst>
        </pc:spChg>
        <pc:spChg chg="mod">
          <ac:chgData name="Alex Pelaez" userId="cbc59824-fd90-4c3e-a66e-bac696fc3be6" providerId="ADAL" clId="{F38F8BE7-0006-48F0-A674-FE246E21BC4B}" dt="2022-06-12T20:17:28.685" v="12" actId="1076"/>
          <ac:spMkLst>
            <pc:docMk/>
            <pc:sldMk cId="3072934698" sldId="256"/>
            <ac:spMk id="95" creationId="{CE9D5CFB-7D1C-4A13-8C7C-593EC6DDF3B7}"/>
          </ac:spMkLst>
        </pc:spChg>
        <pc:spChg chg="mod">
          <ac:chgData name="Alex Pelaez" userId="cbc59824-fd90-4c3e-a66e-bac696fc3be6" providerId="ADAL" clId="{F38F8BE7-0006-48F0-A674-FE246E21BC4B}" dt="2022-06-12T20:30:09.721" v="64"/>
          <ac:spMkLst>
            <pc:docMk/>
            <pc:sldMk cId="3072934698" sldId="256"/>
            <ac:spMk id="103" creationId="{1D69F7E7-355C-4441-8892-B546312CBC42}"/>
          </ac:spMkLst>
        </pc:spChg>
        <pc:spChg chg="mod">
          <ac:chgData name="Alex Pelaez" userId="cbc59824-fd90-4c3e-a66e-bac696fc3be6" providerId="ADAL" clId="{F38F8BE7-0006-48F0-A674-FE246E21BC4B}" dt="2022-06-12T20:30:09.721" v="64"/>
          <ac:spMkLst>
            <pc:docMk/>
            <pc:sldMk cId="3072934698" sldId="256"/>
            <ac:spMk id="106" creationId="{8700C55D-5D80-448E-BEE5-EC83F491596C}"/>
          </ac:spMkLst>
        </pc:spChg>
        <pc:spChg chg="mod">
          <ac:chgData name="Alex Pelaez" userId="cbc59824-fd90-4c3e-a66e-bac696fc3be6" providerId="ADAL" clId="{F38F8BE7-0006-48F0-A674-FE246E21BC4B}" dt="2022-06-12T20:30:09.721" v="64"/>
          <ac:spMkLst>
            <pc:docMk/>
            <pc:sldMk cId="3072934698" sldId="256"/>
            <ac:spMk id="107" creationId="{3DC8314E-D5D8-48C5-9522-D0D0EE0C2535}"/>
          </ac:spMkLst>
        </pc:spChg>
        <pc:spChg chg="mod">
          <ac:chgData name="Alex Pelaez" userId="cbc59824-fd90-4c3e-a66e-bac696fc3be6" providerId="ADAL" clId="{F38F8BE7-0006-48F0-A674-FE246E21BC4B}" dt="2022-06-12T23:10:24.628" v="889" actId="790"/>
          <ac:spMkLst>
            <pc:docMk/>
            <pc:sldMk cId="3072934698" sldId="256"/>
            <ac:spMk id="108" creationId="{6B957666-669E-4E18-B095-DB2E1608C527}"/>
          </ac:spMkLst>
        </pc:spChg>
        <pc:spChg chg="mod">
          <ac:chgData name="Alex Pelaez" userId="cbc59824-fd90-4c3e-a66e-bac696fc3be6" providerId="ADAL" clId="{F38F8BE7-0006-48F0-A674-FE246E21BC4B}" dt="2022-06-12T23:10:24.628" v="889" actId="790"/>
          <ac:spMkLst>
            <pc:docMk/>
            <pc:sldMk cId="3072934698" sldId="256"/>
            <ac:spMk id="109" creationId="{95B11BAC-BEF4-4027-9C41-B51CD7C5E534}"/>
          </ac:spMkLst>
        </pc:spChg>
        <pc:spChg chg="mod">
          <ac:chgData name="Alex Pelaez" userId="cbc59824-fd90-4c3e-a66e-bac696fc3be6" providerId="ADAL" clId="{F38F8BE7-0006-48F0-A674-FE246E21BC4B}" dt="2022-06-12T23:10:24.628" v="889" actId="790"/>
          <ac:spMkLst>
            <pc:docMk/>
            <pc:sldMk cId="3072934698" sldId="256"/>
            <ac:spMk id="110" creationId="{E9F6DB27-BC4D-47AE-AF0F-D20817054D7A}"/>
          </ac:spMkLst>
        </pc:spChg>
        <pc:spChg chg="mod">
          <ac:chgData name="Alex Pelaez" userId="cbc59824-fd90-4c3e-a66e-bac696fc3be6" providerId="ADAL" clId="{F38F8BE7-0006-48F0-A674-FE246E21BC4B}" dt="2022-06-12T23:10:24.628" v="889" actId="790"/>
          <ac:spMkLst>
            <pc:docMk/>
            <pc:sldMk cId="3072934698" sldId="256"/>
            <ac:spMk id="111" creationId="{678EDBC4-84B4-481F-9875-BA9696888C25}"/>
          </ac:spMkLst>
        </pc:spChg>
        <pc:spChg chg="mod">
          <ac:chgData name="Alex Pelaez" userId="cbc59824-fd90-4c3e-a66e-bac696fc3be6" providerId="ADAL" clId="{F38F8BE7-0006-48F0-A674-FE246E21BC4B}" dt="2022-06-12T20:16:29.019" v="4" actId="1036"/>
          <ac:spMkLst>
            <pc:docMk/>
            <pc:sldMk cId="3072934698" sldId="256"/>
            <ac:spMk id="112" creationId="{8F8B30E9-4745-4427-9794-1C1A534816BB}"/>
          </ac:spMkLst>
        </pc:spChg>
        <pc:spChg chg="mod">
          <ac:chgData name="Alex Pelaez" userId="cbc59824-fd90-4c3e-a66e-bac696fc3be6" providerId="ADAL" clId="{F38F8BE7-0006-48F0-A674-FE246E21BC4B}" dt="2022-06-12T20:16:29.019" v="4" actId="1036"/>
          <ac:spMkLst>
            <pc:docMk/>
            <pc:sldMk cId="3072934698" sldId="256"/>
            <ac:spMk id="113" creationId="{4726F62C-8405-46B2-A1E8-0E3377C5131E}"/>
          </ac:spMkLst>
        </pc:spChg>
        <pc:spChg chg="mod">
          <ac:chgData name="Alex Pelaez" userId="cbc59824-fd90-4c3e-a66e-bac696fc3be6" providerId="ADAL" clId="{F38F8BE7-0006-48F0-A674-FE246E21BC4B}" dt="2022-06-12T20:43:46.381" v="794" actId="1036"/>
          <ac:spMkLst>
            <pc:docMk/>
            <pc:sldMk cId="3072934698" sldId="256"/>
            <ac:spMk id="114" creationId="{5577A276-17F8-4CA2-A019-900C6FB1CD44}"/>
          </ac:spMkLst>
        </pc:spChg>
        <pc:spChg chg="mod">
          <ac:chgData name="Alex Pelaez" userId="cbc59824-fd90-4c3e-a66e-bac696fc3be6" providerId="ADAL" clId="{F38F8BE7-0006-48F0-A674-FE246E21BC4B}" dt="2022-06-12T20:43:46.381" v="794" actId="1036"/>
          <ac:spMkLst>
            <pc:docMk/>
            <pc:sldMk cId="3072934698" sldId="256"/>
            <ac:spMk id="115" creationId="{D5C2CDF6-E385-406B-8A6F-BE8434C61218}"/>
          </ac:spMkLst>
        </pc:spChg>
        <pc:spChg chg="mod">
          <ac:chgData name="Alex Pelaez" userId="cbc59824-fd90-4c3e-a66e-bac696fc3be6" providerId="ADAL" clId="{F38F8BE7-0006-48F0-A674-FE246E21BC4B}" dt="2022-06-12T20:16:37.067" v="6" actId="1036"/>
          <ac:spMkLst>
            <pc:docMk/>
            <pc:sldMk cId="3072934698" sldId="256"/>
            <ac:spMk id="116" creationId="{4ABCDFC8-1814-491D-BC3B-99F1206B6D0C}"/>
          </ac:spMkLst>
        </pc:spChg>
        <pc:spChg chg="mod">
          <ac:chgData name="Alex Pelaez" userId="cbc59824-fd90-4c3e-a66e-bac696fc3be6" providerId="ADAL" clId="{F38F8BE7-0006-48F0-A674-FE246E21BC4B}" dt="2022-06-12T20:16:37.067" v="6" actId="1036"/>
          <ac:spMkLst>
            <pc:docMk/>
            <pc:sldMk cId="3072934698" sldId="256"/>
            <ac:spMk id="117" creationId="{E4CF82BE-57CF-4067-8B08-8CB4D2D2371D}"/>
          </ac:spMkLst>
        </pc:spChg>
        <pc:spChg chg="mod">
          <ac:chgData name="Alex Pelaez" userId="cbc59824-fd90-4c3e-a66e-bac696fc3be6" providerId="ADAL" clId="{F38F8BE7-0006-48F0-A674-FE246E21BC4B}" dt="2022-06-12T20:16:33.306" v="5" actId="1036"/>
          <ac:spMkLst>
            <pc:docMk/>
            <pc:sldMk cId="3072934698" sldId="256"/>
            <ac:spMk id="118" creationId="{0FE5B92B-BD73-4686-B783-E0AD42E57A6F}"/>
          </ac:spMkLst>
        </pc:spChg>
        <pc:spChg chg="mod">
          <ac:chgData name="Alex Pelaez" userId="cbc59824-fd90-4c3e-a66e-bac696fc3be6" providerId="ADAL" clId="{F38F8BE7-0006-48F0-A674-FE246E21BC4B}" dt="2022-06-12T20:16:33.306" v="5" actId="1036"/>
          <ac:spMkLst>
            <pc:docMk/>
            <pc:sldMk cId="3072934698" sldId="256"/>
            <ac:spMk id="119" creationId="{B2F4C453-8B7F-4EFF-BA78-830C787F7B99}"/>
          </ac:spMkLst>
        </pc:spChg>
        <pc:spChg chg="mod">
          <ac:chgData name="Alex Pelaez" userId="cbc59824-fd90-4c3e-a66e-bac696fc3be6" providerId="ADAL" clId="{F38F8BE7-0006-48F0-A674-FE246E21BC4B}" dt="2022-06-12T20:30:33.437" v="73"/>
          <ac:spMkLst>
            <pc:docMk/>
            <pc:sldMk cId="3072934698" sldId="256"/>
            <ac:spMk id="122" creationId="{523868D4-0B65-4B9E-A7CB-DF6BBB5388B3}"/>
          </ac:spMkLst>
        </pc:spChg>
        <pc:spChg chg="mod">
          <ac:chgData name="Alex Pelaez" userId="cbc59824-fd90-4c3e-a66e-bac696fc3be6" providerId="ADAL" clId="{F38F8BE7-0006-48F0-A674-FE246E21BC4B}" dt="2022-06-12T20:30:33.437" v="73"/>
          <ac:spMkLst>
            <pc:docMk/>
            <pc:sldMk cId="3072934698" sldId="256"/>
            <ac:spMk id="123" creationId="{1BC78A9F-B6DF-45FE-B73E-CBA7D73BEA58}"/>
          </ac:spMkLst>
        </pc:spChg>
        <pc:spChg chg="mod">
          <ac:chgData name="Alex Pelaez" userId="cbc59824-fd90-4c3e-a66e-bac696fc3be6" providerId="ADAL" clId="{F38F8BE7-0006-48F0-A674-FE246E21BC4B}" dt="2022-06-12T20:30:33.437" v="73"/>
          <ac:spMkLst>
            <pc:docMk/>
            <pc:sldMk cId="3072934698" sldId="256"/>
            <ac:spMk id="124" creationId="{6F115FB0-4226-4BC5-927F-D5A04642EF89}"/>
          </ac:spMkLst>
        </pc:spChg>
        <pc:spChg chg="mod">
          <ac:chgData name="Alex Pelaez" userId="cbc59824-fd90-4c3e-a66e-bac696fc3be6" providerId="ADAL" clId="{F38F8BE7-0006-48F0-A674-FE246E21BC4B}" dt="2022-06-12T20:31:59.451" v="84"/>
          <ac:spMkLst>
            <pc:docMk/>
            <pc:sldMk cId="3072934698" sldId="256"/>
            <ac:spMk id="127" creationId="{303DDCE2-C98D-464C-BE81-049F65BBBE81}"/>
          </ac:spMkLst>
        </pc:spChg>
        <pc:spChg chg="mod">
          <ac:chgData name="Alex Pelaez" userId="cbc59824-fd90-4c3e-a66e-bac696fc3be6" providerId="ADAL" clId="{F38F8BE7-0006-48F0-A674-FE246E21BC4B}" dt="2022-06-12T20:31:59.451" v="84"/>
          <ac:spMkLst>
            <pc:docMk/>
            <pc:sldMk cId="3072934698" sldId="256"/>
            <ac:spMk id="128" creationId="{A79FC9DD-E04A-4EA9-9D67-1BE9267CC61D}"/>
          </ac:spMkLst>
        </pc:spChg>
        <pc:spChg chg="mod">
          <ac:chgData name="Alex Pelaez" userId="cbc59824-fd90-4c3e-a66e-bac696fc3be6" providerId="ADAL" clId="{F38F8BE7-0006-48F0-A674-FE246E21BC4B}" dt="2022-06-12T20:31:59.451" v="84"/>
          <ac:spMkLst>
            <pc:docMk/>
            <pc:sldMk cId="3072934698" sldId="256"/>
            <ac:spMk id="129" creationId="{76DC5CBD-5983-4857-A378-979582FD37CE}"/>
          </ac:spMkLst>
        </pc:spChg>
        <pc:grpChg chg="add mod">
          <ac:chgData name="Alex Pelaez" userId="cbc59824-fd90-4c3e-a66e-bac696fc3be6" providerId="ADAL" clId="{F38F8BE7-0006-48F0-A674-FE246E21BC4B}" dt="2022-06-12T20:30:29.334" v="71" actId="14100"/>
          <ac:grpSpMkLst>
            <pc:docMk/>
            <pc:sldMk cId="3072934698" sldId="256"/>
            <ac:grpSpMk id="10" creationId="{3625B790-32AD-4EF7-AEF0-55BFF6AD6EC5}"/>
          </ac:grpSpMkLst>
        </pc:grpChg>
        <pc:grpChg chg="add del mod">
          <ac:chgData name="Alex Pelaez" userId="cbc59824-fd90-4c3e-a66e-bac696fc3be6" providerId="ADAL" clId="{F38F8BE7-0006-48F0-A674-FE246E21BC4B}" dt="2022-06-12T20:30:31.013" v="72" actId="478"/>
          <ac:grpSpMkLst>
            <pc:docMk/>
            <pc:sldMk cId="3072934698" sldId="256"/>
            <ac:grpSpMk id="98" creationId="{50EF5077-F682-402A-A14B-13E0E9F37FE5}"/>
          </ac:grpSpMkLst>
        </pc:grpChg>
        <pc:grpChg chg="add del mod">
          <ac:chgData name="Alex Pelaez" userId="cbc59824-fd90-4c3e-a66e-bac696fc3be6" providerId="ADAL" clId="{F38F8BE7-0006-48F0-A674-FE246E21BC4B}" dt="2022-06-12T20:30:35.527" v="74"/>
          <ac:grpSpMkLst>
            <pc:docMk/>
            <pc:sldMk cId="3072934698" sldId="256"/>
            <ac:grpSpMk id="121" creationId="{E3D97BB6-108B-405E-B025-70D7FE5A3D2B}"/>
          </ac:grpSpMkLst>
        </pc:grpChg>
        <pc:grpChg chg="add del mod">
          <ac:chgData name="Alex Pelaez" userId="cbc59824-fd90-4c3e-a66e-bac696fc3be6" providerId="ADAL" clId="{F38F8BE7-0006-48F0-A674-FE246E21BC4B}" dt="2022-06-12T20:32:02" v="85"/>
          <ac:grpSpMkLst>
            <pc:docMk/>
            <pc:sldMk cId="3072934698" sldId="256"/>
            <ac:grpSpMk id="126" creationId="{2907488A-1C1F-4E11-BC36-8D0A632F1312}"/>
          </ac:grpSpMkLst>
        </pc:grpChg>
        <pc:graphicFrameChg chg="mod">
          <ac:chgData name="Alex Pelaez" userId="cbc59824-fd90-4c3e-a66e-bac696fc3be6" providerId="ADAL" clId="{F38F8BE7-0006-48F0-A674-FE246E21BC4B}" dt="2022-06-12T23:10:25.222" v="891"/>
          <ac:graphicFrameMkLst>
            <pc:docMk/>
            <pc:sldMk cId="3072934698" sldId="256"/>
            <ac:graphicFrameMk id="4" creationId="{6E4619EF-E9DC-413C-97FC-6F133352D19F}"/>
          </ac:graphicFrameMkLst>
        </pc:graphicFrameChg>
        <pc:picChg chg="add del mod">
          <ac:chgData name="Alex Pelaez" userId="cbc59824-fd90-4c3e-a66e-bac696fc3be6" providerId="ADAL" clId="{F38F8BE7-0006-48F0-A674-FE246E21BC4B}" dt="2022-06-12T20:32:10.227" v="88" actId="478"/>
          <ac:picMkLst>
            <pc:docMk/>
            <pc:sldMk cId="3072934698" sldId="256"/>
            <ac:picMk id="11" creationId="{613A39AD-4F05-410C-912B-4EDC203007E8}"/>
          </ac:picMkLst>
        </pc:picChg>
        <pc:picChg chg="add del mod">
          <ac:chgData name="Alex Pelaez" userId="cbc59824-fd90-4c3e-a66e-bac696fc3be6" providerId="ADAL" clId="{F38F8BE7-0006-48F0-A674-FE246E21BC4B}" dt="2022-06-12T20:43:38.282" v="789" actId="478"/>
          <ac:picMkLst>
            <pc:docMk/>
            <pc:sldMk cId="3072934698" sldId="256"/>
            <ac:picMk id="12" creationId="{84BE9795-9B54-43F9-9773-AEB1C2EB7F3F}"/>
          </ac:picMkLst>
        </pc:picChg>
        <pc:picChg chg="del">
          <ac:chgData name="Alex Pelaez" userId="cbc59824-fd90-4c3e-a66e-bac696fc3be6" providerId="ADAL" clId="{F38F8BE7-0006-48F0-A674-FE246E21BC4B}" dt="2022-06-12T20:16:20.919" v="3" actId="478"/>
          <ac:picMkLst>
            <pc:docMk/>
            <pc:sldMk cId="3072934698" sldId="256"/>
            <ac:picMk id="58" creationId="{A79FAFAF-344F-45F0-84B8-76B7D4FA908B}"/>
          </ac:picMkLst>
        </pc:picChg>
        <pc:picChg chg="add del mod">
          <ac:chgData name="Alex Pelaez" userId="cbc59824-fd90-4c3e-a66e-bac696fc3be6" providerId="ADAL" clId="{F38F8BE7-0006-48F0-A674-FE246E21BC4B}" dt="2022-06-12T20:16:20.022" v="2" actId="478"/>
          <ac:picMkLst>
            <pc:docMk/>
            <pc:sldMk cId="3072934698" sldId="256"/>
            <ac:picMk id="62" creationId="{9C380CF4-FF96-4572-9000-7107F1DCC883}"/>
          </ac:picMkLst>
        </pc:picChg>
        <pc:picChg chg="add del mod">
          <ac:chgData name="Alex Pelaez" userId="cbc59824-fd90-4c3e-a66e-bac696fc3be6" providerId="ADAL" clId="{F38F8BE7-0006-48F0-A674-FE246E21BC4B}" dt="2022-06-12T20:43:39.033" v="790" actId="478"/>
          <ac:picMkLst>
            <pc:docMk/>
            <pc:sldMk cId="3072934698" sldId="256"/>
            <ac:picMk id="131" creationId="{CA2F51CE-939B-4F0A-87F5-007DFC697F3B}"/>
          </ac:picMkLst>
        </pc:picChg>
        <pc:picChg chg="add del mod">
          <ac:chgData name="Alex Pelaez" userId="cbc59824-fd90-4c3e-a66e-bac696fc3be6" providerId="ADAL" clId="{F38F8BE7-0006-48F0-A674-FE246E21BC4B}" dt="2022-06-12T20:43:39.914" v="791" actId="478"/>
          <ac:picMkLst>
            <pc:docMk/>
            <pc:sldMk cId="3072934698" sldId="256"/>
            <ac:picMk id="132" creationId="{D1304577-1C9A-4E2F-B757-7ACD15777C63}"/>
          </ac:picMkLst>
        </pc:picChg>
        <pc:picChg chg="add del mod">
          <ac:chgData name="Alex Pelaez" userId="cbc59824-fd90-4c3e-a66e-bac696fc3be6" providerId="ADAL" clId="{F38F8BE7-0006-48F0-A674-FE246E21BC4B}" dt="2022-06-12T20:43:40.928" v="792" actId="478"/>
          <ac:picMkLst>
            <pc:docMk/>
            <pc:sldMk cId="3072934698" sldId="256"/>
            <ac:picMk id="133" creationId="{DB9D8117-EF99-42E3-93A4-D0576F36424B}"/>
          </ac:picMkLst>
        </pc:picChg>
        <pc:picChg chg="add del mod">
          <ac:chgData name="Alex Pelaez" userId="cbc59824-fd90-4c3e-a66e-bac696fc3be6" providerId="ADAL" clId="{F38F8BE7-0006-48F0-A674-FE246E21BC4B}" dt="2022-06-12T20:43:42.026" v="793" actId="478"/>
          <ac:picMkLst>
            <pc:docMk/>
            <pc:sldMk cId="3072934698" sldId="256"/>
            <ac:picMk id="134" creationId="{AF2CF5DB-A56E-43CF-8340-1D490BC87A87}"/>
          </ac:picMkLst>
        </pc:picChg>
        <pc:picChg chg="add del mod">
          <ac:chgData name="Alex Pelaez" userId="cbc59824-fd90-4c3e-a66e-bac696fc3be6" providerId="ADAL" clId="{F38F8BE7-0006-48F0-A674-FE246E21BC4B}" dt="2022-06-12T20:25:07.038" v="21" actId="478"/>
          <ac:picMkLst>
            <pc:docMk/>
            <pc:sldMk cId="3072934698" sldId="256"/>
            <ac:picMk id="1026" creationId="{C22885DA-0C1F-46A3-BA6A-B93318378783}"/>
          </ac:picMkLst>
        </pc:picChg>
        <pc:picChg chg="add del mod">
          <ac:chgData name="Alex Pelaez" userId="cbc59824-fd90-4c3e-a66e-bac696fc3be6" providerId="ADAL" clId="{F38F8BE7-0006-48F0-A674-FE246E21BC4B}" dt="2022-06-12T20:29:54.850" v="60" actId="478"/>
          <ac:picMkLst>
            <pc:docMk/>
            <pc:sldMk cId="3072934698" sldId="256"/>
            <ac:picMk id="1028" creationId="{E650C5E7-5379-466E-AFFD-AD51551629A4}"/>
          </ac:picMkLst>
        </pc:picChg>
        <pc:cxnChg chg="add mod">
          <ac:chgData name="Alex Pelaez" userId="cbc59824-fd90-4c3e-a66e-bac696fc3be6" providerId="ADAL" clId="{F38F8BE7-0006-48F0-A674-FE246E21BC4B}" dt="2022-06-12T20:30:03.510" v="61" actId="164"/>
          <ac:cxnSpMkLst>
            <pc:docMk/>
            <pc:sldMk cId="3072934698" sldId="256"/>
            <ac:cxnSpMk id="7" creationId="{66085412-A667-44BB-B9EE-BA4F2B53B4CE}"/>
          </ac:cxnSpMkLst>
        </pc:cxnChg>
        <pc:cxnChg chg="mod">
          <ac:chgData name="Alex Pelaez" userId="cbc59824-fd90-4c3e-a66e-bac696fc3be6" providerId="ADAL" clId="{F38F8BE7-0006-48F0-A674-FE246E21BC4B}" dt="2022-06-12T20:32:31.607" v="90" actId="208"/>
          <ac:cxnSpMkLst>
            <pc:docMk/>
            <pc:sldMk cId="3072934698" sldId="256"/>
            <ac:cxnSpMk id="104" creationId="{383EE2DB-743B-423E-BE4F-28CF7C5F52FC}"/>
          </ac:cxnSpMkLst>
        </pc:cxnChg>
        <pc:cxnChg chg="del mod">
          <ac:chgData name="Alex Pelaez" userId="cbc59824-fd90-4c3e-a66e-bac696fc3be6" providerId="ADAL" clId="{F38F8BE7-0006-48F0-A674-FE246E21BC4B}" dt="2022-06-12T20:32:37.619" v="91" actId="478"/>
          <ac:cxnSpMkLst>
            <pc:docMk/>
            <pc:sldMk cId="3072934698" sldId="256"/>
            <ac:cxnSpMk id="105" creationId="{D96A11D7-9BF4-449F-9A5F-BE4F92BCD1A9}"/>
          </ac:cxnSpMkLst>
        </pc:cxnChg>
        <pc:cxnChg chg="mod">
          <ac:chgData name="Alex Pelaez" userId="cbc59824-fd90-4c3e-a66e-bac696fc3be6" providerId="ADAL" clId="{F38F8BE7-0006-48F0-A674-FE246E21BC4B}" dt="2022-06-12T20:30:09.721" v="64"/>
          <ac:cxnSpMkLst>
            <pc:docMk/>
            <pc:sldMk cId="3072934698" sldId="256"/>
            <ac:cxnSpMk id="120" creationId="{712F960F-7585-4BA0-BF8F-087D63BF576D}"/>
          </ac:cxnSpMkLst>
        </pc:cxnChg>
        <pc:cxnChg chg="mod">
          <ac:chgData name="Alex Pelaez" userId="cbc59824-fd90-4c3e-a66e-bac696fc3be6" providerId="ADAL" clId="{F38F8BE7-0006-48F0-A674-FE246E21BC4B}" dt="2022-06-12T20:30:33.437" v="73"/>
          <ac:cxnSpMkLst>
            <pc:docMk/>
            <pc:sldMk cId="3072934698" sldId="256"/>
            <ac:cxnSpMk id="125" creationId="{F5657711-6C63-4C1F-93EE-FBDB82298D9F}"/>
          </ac:cxnSpMkLst>
        </pc:cxnChg>
        <pc:cxnChg chg="mod">
          <ac:chgData name="Alex Pelaez" userId="cbc59824-fd90-4c3e-a66e-bac696fc3be6" providerId="ADAL" clId="{F38F8BE7-0006-48F0-A674-FE246E21BC4B}" dt="2022-06-12T20:31:59.451" v="84"/>
          <ac:cxnSpMkLst>
            <pc:docMk/>
            <pc:sldMk cId="3072934698" sldId="256"/>
            <ac:cxnSpMk id="130" creationId="{11C5C93D-13DD-4505-812B-371A67B7E92F}"/>
          </ac:cxnSpMkLst>
        </pc:cxnChg>
      </pc:sldChg>
      <pc:sldChg chg="addSp delSp modSp add mod">
        <pc:chgData name="Alex Pelaez" userId="cbc59824-fd90-4c3e-a66e-bac696fc3be6" providerId="ADAL" clId="{F38F8BE7-0006-48F0-A674-FE246E21BC4B}" dt="2022-06-12T23:13:02.732" v="948" actId="20577"/>
        <pc:sldMkLst>
          <pc:docMk/>
          <pc:sldMk cId="2494720194" sldId="257"/>
        </pc:sldMkLst>
        <pc:spChg chg="mod">
          <ac:chgData name="Alex Pelaez" userId="cbc59824-fd90-4c3e-a66e-bac696fc3be6" providerId="ADAL" clId="{F38F8BE7-0006-48F0-A674-FE246E21BC4B}" dt="2022-06-12T20:42:42.732" v="787" actId="1076"/>
          <ac:spMkLst>
            <pc:docMk/>
            <pc:sldMk cId="2494720194" sldId="257"/>
            <ac:spMk id="2" creationId="{4AA528EF-368A-407A-AE3D-7CA2B77266AA}"/>
          </ac:spMkLst>
        </pc:spChg>
        <pc:spChg chg="mod">
          <ac:chgData name="Alex Pelaez" userId="cbc59824-fd90-4c3e-a66e-bac696fc3be6" providerId="ADAL" clId="{F38F8BE7-0006-48F0-A674-FE246E21BC4B}" dt="2022-06-12T20:42:43.211" v="788" actId="14100"/>
          <ac:spMkLst>
            <pc:docMk/>
            <pc:sldMk cId="2494720194" sldId="257"/>
            <ac:spMk id="3" creationId="{218D803F-7F7F-4F7E-A6C0-6F52C8BDA043}"/>
          </ac:spMkLst>
        </pc:spChg>
        <pc:spChg chg="add mod ord">
          <ac:chgData name="Alex Pelaez" userId="cbc59824-fd90-4c3e-a66e-bac696fc3be6" providerId="ADAL" clId="{F38F8BE7-0006-48F0-A674-FE246E21BC4B}" dt="2022-06-12T20:41:17.758" v="743"/>
          <ac:spMkLst>
            <pc:docMk/>
            <pc:sldMk cId="2494720194" sldId="257"/>
            <ac:spMk id="98" creationId="{C2809AB6-B8D6-47EE-976E-C53C8246CCB6}"/>
          </ac:spMkLst>
        </pc:spChg>
        <pc:spChg chg="mod ord">
          <ac:chgData name="Alex Pelaez" userId="cbc59824-fd90-4c3e-a66e-bac696fc3be6" providerId="ADAL" clId="{F38F8BE7-0006-48F0-A674-FE246E21BC4B}" dt="2022-06-12T20:41:17.763" v="753"/>
          <ac:spMkLst>
            <pc:docMk/>
            <pc:sldMk cId="2494720194" sldId="257"/>
            <ac:spMk id="99" creationId="{D319C0CE-D873-44A2-86C1-4F7CF216D23C}"/>
          </ac:spMkLst>
        </pc:spChg>
        <pc:spChg chg="mod ord">
          <ac:chgData name="Alex Pelaez" userId="cbc59824-fd90-4c3e-a66e-bac696fc3be6" providerId="ADAL" clId="{F38F8BE7-0006-48F0-A674-FE246E21BC4B}" dt="2022-06-12T20:41:17.764" v="755"/>
          <ac:spMkLst>
            <pc:docMk/>
            <pc:sldMk cId="2494720194" sldId="257"/>
            <ac:spMk id="100" creationId="{BB14C09A-16BC-49A5-95FE-B62875F788BD}"/>
          </ac:spMkLst>
        </pc:spChg>
        <pc:spChg chg="mod ord">
          <ac:chgData name="Alex Pelaez" userId="cbc59824-fd90-4c3e-a66e-bac696fc3be6" providerId="ADAL" clId="{F38F8BE7-0006-48F0-A674-FE246E21BC4B}" dt="2022-06-12T20:41:17.764" v="757"/>
          <ac:spMkLst>
            <pc:docMk/>
            <pc:sldMk cId="2494720194" sldId="257"/>
            <ac:spMk id="101" creationId="{F9998BA4-BC58-4BCF-918F-11C8012B1DBE}"/>
          </ac:spMkLst>
        </pc:spChg>
        <pc:spChg chg="mod ord">
          <ac:chgData name="Alex Pelaez" userId="cbc59824-fd90-4c3e-a66e-bac696fc3be6" providerId="ADAL" clId="{F38F8BE7-0006-48F0-A674-FE246E21BC4B}" dt="2022-06-12T20:41:17.765" v="759"/>
          <ac:spMkLst>
            <pc:docMk/>
            <pc:sldMk cId="2494720194" sldId="257"/>
            <ac:spMk id="102" creationId="{CF1C7F73-15C5-48BC-9CC0-C33EA3AEA977}"/>
          </ac:spMkLst>
        </pc:spChg>
        <pc:spChg chg="add mod ord">
          <ac:chgData name="Alex Pelaez" userId="cbc59824-fd90-4c3e-a66e-bac696fc3be6" providerId="ADAL" clId="{F38F8BE7-0006-48F0-A674-FE246E21BC4B}" dt="2022-06-12T20:41:17.758" v="741"/>
          <ac:spMkLst>
            <pc:docMk/>
            <pc:sldMk cId="2494720194" sldId="257"/>
            <ac:spMk id="103" creationId="{12115B0F-C36D-49D8-A9B5-11DB16BF3440}"/>
          </ac:spMkLst>
        </pc:spChg>
        <pc:spChg chg="add mod ord">
          <ac:chgData name="Alex Pelaez" userId="cbc59824-fd90-4c3e-a66e-bac696fc3be6" providerId="ADAL" clId="{F38F8BE7-0006-48F0-A674-FE246E21BC4B}" dt="2022-06-12T20:41:17.771" v="777"/>
          <ac:spMkLst>
            <pc:docMk/>
            <pc:sldMk cId="2494720194" sldId="257"/>
            <ac:spMk id="105" creationId="{371A7E6A-108C-4C50-9DA5-F939375FEBC5}"/>
          </ac:spMkLst>
        </pc:spChg>
        <pc:spChg chg="add mod ord">
          <ac:chgData name="Alex Pelaez" userId="cbc59824-fd90-4c3e-a66e-bac696fc3be6" providerId="ADAL" clId="{F38F8BE7-0006-48F0-A674-FE246E21BC4B}" dt="2022-06-12T20:41:17.756" v="737"/>
          <ac:spMkLst>
            <pc:docMk/>
            <pc:sldMk cId="2494720194" sldId="257"/>
            <ac:spMk id="106" creationId="{DB385B72-7AC1-4AA3-9178-54552E084DF8}"/>
          </ac:spMkLst>
        </pc:spChg>
        <pc:spChg chg="mod ord">
          <ac:chgData name="Alex Pelaez" userId="cbc59824-fd90-4c3e-a66e-bac696fc3be6" providerId="ADAL" clId="{F38F8BE7-0006-48F0-A674-FE246E21BC4B}" dt="2022-06-12T23:12:47.932" v="905" actId="20577"/>
          <ac:spMkLst>
            <pc:docMk/>
            <pc:sldMk cId="2494720194" sldId="257"/>
            <ac:spMk id="108" creationId="{6B957666-669E-4E18-B095-DB2E1608C527}"/>
          </ac:spMkLst>
        </pc:spChg>
        <pc:spChg chg="mod ord">
          <ac:chgData name="Alex Pelaez" userId="cbc59824-fd90-4c3e-a66e-bac696fc3be6" providerId="ADAL" clId="{F38F8BE7-0006-48F0-A674-FE246E21BC4B}" dt="2022-06-12T23:12:54.393" v="922" actId="20577"/>
          <ac:spMkLst>
            <pc:docMk/>
            <pc:sldMk cId="2494720194" sldId="257"/>
            <ac:spMk id="109" creationId="{95B11BAC-BEF4-4027-9C41-B51CD7C5E534}"/>
          </ac:spMkLst>
        </pc:spChg>
        <pc:spChg chg="mod ord">
          <ac:chgData name="Alex Pelaez" userId="cbc59824-fd90-4c3e-a66e-bac696fc3be6" providerId="ADAL" clId="{F38F8BE7-0006-48F0-A674-FE246E21BC4B}" dt="2022-06-12T23:12:59.323" v="938" actId="20577"/>
          <ac:spMkLst>
            <pc:docMk/>
            <pc:sldMk cId="2494720194" sldId="257"/>
            <ac:spMk id="110" creationId="{E9F6DB27-BC4D-47AE-AF0F-D20817054D7A}"/>
          </ac:spMkLst>
        </pc:spChg>
        <pc:spChg chg="mod ord">
          <ac:chgData name="Alex Pelaez" userId="cbc59824-fd90-4c3e-a66e-bac696fc3be6" providerId="ADAL" clId="{F38F8BE7-0006-48F0-A674-FE246E21BC4B}" dt="2022-06-12T23:13:02.732" v="948" actId="20577"/>
          <ac:spMkLst>
            <pc:docMk/>
            <pc:sldMk cId="2494720194" sldId="257"/>
            <ac:spMk id="111" creationId="{678EDBC4-84B4-481F-9875-BA9696888C25}"/>
          </ac:spMkLst>
        </pc:spChg>
        <pc:spChg chg="del">
          <ac:chgData name="Alex Pelaez" userId="cbc59824-fd90-4c3e-a66e-bac696fc3be6" providerId="ADAL" clId="{F38F8BE7-0006-48F0-A674-FE246E21BC4B}" dt="2022-06-12T20:34:22.278" v="143" actId="478"/>
          <ac:spMkLst>
            <pc:docMk/>
            <pc:sldMk cId="2494720194" sldId="257"/>
            <ac:spMk id="112" creationId="{8F8B30E9-4745-4427-9794-1C1A534816BB}"/>
          </ac:spMkLst>
        </pc:spChg>
        <pc:spChg chg="del">
          <ac:chgData name="Alex Pelaez" userId="cbc59824-fd90-4c3e-a66e-bac696fc3be6" providerId="ADAL" clId="{F38F8BE7-0006-48F0-A674-FE246E21BC4B}" dt="2022-06-12T20:34:24.060" v="144" actId="478"/>
          <ac:spMkLst>
            <pc:docMk/>
            <pc:sldMk cId="2494720194" sldId="257"/>
            <ac:spMk id="113" creationId="{4726F62C-8405-46B2-A1E8-0E3377C5131E}"/>
          </ac:spMkLst>
        </pc:spChg>
        <pc:spChg chg="del">
          <ac:chgData name="Alex Pelaez" userId="cbc59824-fd90-4c3e-a66e-bac696fc3be6" providerId="ADAL" clId="{F38F8BE7-0006-48F0-A674-FE246E21BC4B}" dt="2022-06-12T20:34:30.662" v="150" actId="478"/>
          <ac:spMkLst>
            <pc:docMk/>
            <pc:sldMk cId="2494720194" sldId="257"/>
            <ac:spMk id="114" creationId="{5577A276-17F8-4CA2-A019-900C6FB1CD44}"/>
          </ac:spMkLst>
        </pc:spChg>
        <pc:spChg chg="del">
          <ac:chgData name="Alex Pelaez" userId="cbc59824-fd90-4c3e-a66e-bac696fc3be6" providerId="ADAL" clId="{F38F8BE7-0006-48F0-A674-FE246E21BC4B}" dt="2022-06-12T20:34:29.831" v="149" actId="478"/>
          <ac:spMkLst>
            <pc:docMk/>
            <pc:sldMk cId="2494720194" sldId="257"/>
            <ac:spMk id="115" creationId="{D5C2CDF6-E385-406B-8A6F-BE8434C61218}"/>
          </ac:spMkLst>
        </pc:spChg>
        <pc:spChg chg="del">
          <ac:chgData name="Alex Pelaez" userId="cbc59824-fd90-4c3e-a66e-bac696fc3be6" providerId="ADAL" clId="{F38F8BE7-0006-48F0-A674-FE246E21BC4B}" dt="2022-06-12T20:34:28.890" v="148" actId="478"/>
          <ac:spMkLst>
            <pc:docMk/>
            <pc:sldMk cId="2494720194" sldId="257"/>
            <ac:spMk id="116" creationId="{4ABCDFC8-1814-491D-BC3B-99F1206B6D0C}"/>
          </ac:spMkLst>
        </pc:spChg>
        <pc:spChg chg="del">
          <ac:chgData name="Alex Pelaez" userId="cbc59824-fd90-4c3e-a66e-bac696fc3be6" providerId="ADAL" clId="{F38F8BE7-0006-48F0-A674-FE246E21BC4B}" dt="2022-06-12T20:34:28.054" v="147" actId="478"/>
          <ac:spMkLst>
            <pc:docMk/>
            <pc:sldMk cId="2494720194" sldId="257"/>
            <ac:spMk id="117" creationId="{E4CF82BE-57CF-4067-8B08-8CB4D2D2371D}"/>
          </ac:spMkLst>
        </pc:spChg>
        <pc:spChg chg="del">
          <ac:chgData name="Alex Pelaez" userId="cbc59824-fd90-4c3e-a66e-bac696fc3be6" providerId="ADAL" clId="{F38F8BE7-0006-48F0-A674-FE246E21BC4B}" dt="2022-06-12T20:34:27.224" v="146" actId="478"/>
          <ac:spMkLst>
            <pc:docMk/>
            <pc:sldMk cId="2494720194" sldId="257"/>
            <ac:spMk id="118" creationId="{0FE5B92B-BD73-4686-B783-E0AD42E57A6F}"/>
          </ac:spMkLst>
        </pc:spChg>
        <pc:spChg chg="del">
          <ac:chgData name="Alex Pelaez" userId="cbc59824-fd90-4c3e-a66e-bac696fc3be6" providerId="ADAL" clId="{F38F8BE7-0006-48F0-A674-FE246E21BC4B}" dt="2022-06-12T20:34:26.100" v="145" actId="478"/>
          <ac:spMkLst>
            <pc:docMk/>
            <pc:sldMk cId="2494720194" sldId="257"/>
            <ac:spMk id="119" creationId="{B2F4C453-8B7F-4EFF-BA78-830C787F7B99}"/>
          </ac:spMkLst>
        </pc:spChg>
        <pc:grpChg chg="mod ord">
          <ac:chgData name="Alex Pelaez" userId="cbc59824-fd90-4c3e-a66e-bac696fc3be6" providerId="ADAL" clId="{F38F8BE7-0006-48F0-A674-FE246E21BC4B}" dt="2022-06-12T20:41:17.768" v="769"/>
          <ac:grpSpMkLst>
            <pc:docMk/>
            <pc:sldMk cId="2494720194" sldId="257"/>
            <ac:grpSpMk id="10" creationId="{3625B790-32AD-4EF7-AEF0-55BFF6AD6EC5}"/>
          </ac:grpSpMkLst>
        </pc:grpChg>
        <pc:grpChg chg="mod ord">
          <ac:chgData name="Alex Pelaez" userId="cbc59824-fd90-4c3e-a66e-bac696fc3be6" providerId="ADAL" clId="{F38F8BE7-0006-48F0-A674-FE246E21BC4B}" dt="2022-06-12T20:41:17.759" v="745"/>
          <ac:grpSpMkLst>
            <pc:docMk/>
            <pc:sldMk cId="2494720194" sldId="257"/>
            <ac:grpSpMk id="67" creationId="{D5487B16-6B59-4A04-A3F9-7989387821AC}"/>
          </ac:grpSpMkLst>
        </pc:grpChg>
        <pc:grpChg chg="mod ord">
          <ac:chgData name="Alex Pelaez" userId="cbc59824-fd90-4c3e-a66e-bac696fc3be6" providerId="ADAL" clId="{F38F8BE7-0006-48F0-A674-FE246E21BC4B}" dt="2022-06-12T20:41:17.760" v="747"/>
          <ac:grpSpMkLst>
            <pc:docMk/>
            <pc:sldMk cId="2494720194" sldId="257"/>
            <ac:grpSpMk id="68" creationId="{F558D66F-2CF6-46EA-A0FF-CA324FFF1494}"/>
          </ac:grpSpMkLst>
        </pc:grpChg>
        <pc:grpChg chg="mod ord">
          <ac:chgData name="Alex Pelaez" userId="cbc59824-fd90-4c3e-a66e-bac696fc3be6" providerId="ADAL" clId="{F38F8BE7-0006-48F0-A674-FE246E21BC4B}" dt="2022-06-12T20:41:17.761" v="749"/>
          <ac:grpSpMkLst>
            <pc:docMk/>
            <pc:sldMk cId="2494720194" sldId="257"/>
            <ac:grpSpMk id="78" creationId="{4B070AEB-E5EB-4148-93F6-1E8BC002B9FE}"/>
          </ac:grpSpMkLst>
        </pc:grpChg>
        <pc:grpChg chg="mod ord">
          <ac:chgData name="Alex Pelaez" userId="cbc59824-fd90-4c3e-a66e-bac696fc3be6" providerId="ADAL" clId="{F38F8BE7-0006-48F0-A674-FE246E21BC4B}" dt="2022-06-12T20:41:17.762" v="751"/>
          <ac:grpSpMkLst>
            <pc:docMk/>
            <pc:sldMk cId="2494720194" sldId="257"/>
            <ac:grpSpMk id="88" creationId="{31D921D3-3D0A-45DB-B12B-7D592540F533}"/>
          </ac:grpSpMkLst>
        </pc:grpChg>
        <pc:graphicFrameChg chg="mod">
          <ac:chgData name="Alex Pelaez" userId="cbc59824-fd90-4c3e-a66e-bac696fc3be6" providerId="ADAL" clId="{F38F8BE7-0006-48F0-A674-FE246E21BC4B}" dt="2022-06-12T20:41:17.774" v="783"/>
          <ac:graphicFrameMkLst>
            <pc:docMk/>
            <pc:sldMk cId="2494720194" sldId="257"/>
            <ac:graphicFrameMk id="4" creationId="{6E4619EF-E9DC-413C-97FC-6F133352D19F}"/>
          </ac:graphicFrameMkLst>
        </pc:graphicFrameChg>
        <pc:picChg chg="mod ord">
          <ac:chgData name="Alex Pelaez" userId="cbc59824-fd90-4c3e-a66e-bac696fc3be6" providerId="ADAL" clId="{F38F8BE7-0006-48F0-A674-FE246E21BC4B}" dt="2022-06-12T20:41:17.769" v="771"/>
          <ac:picMkLst>
            <pc:docMk/>
            <pc:sldMk cId="2494720194" sldId="257"/>
            <ac:picMk id="12" creationId="{84BE9795-9B54-43F9-9773-AEB1C2EB7F3F}"/>
          </ac:picMkLst>
        </pc:picChg>
        <pc:picChg chg="mod ord">
          <ac:chgData name="Alex Pelaez" userId="cbc59824-fd90-4c3e-a66e-bac696fc3be6" providerId="ADAL" clId="{F38F8BE7-0006-48F0-A674-FE246E21BC4B}" dt="2022-06-12T20:41:17.770" v="773"/>
          <ac:picMkLst>
            <pc:docMk/>
            <pc:sldMk cId="2494720194" sldId="257"/>
            <ac:picMk id="131" creationId="{CA2F51CE-939B-4F0A-87F5-007DFC697F3B}"/>
          </ac:picMkLst>
        </pc:picChg>
        <pc:picChg chg="mod ord">
          <ac:chgData name="Alex Pelaez" userId="cbc59824-fd90-4c3e-a66e-bac696fc3be6" providerId="ADAL" clId="{F38F8BE7-0006-48F0-A674-FE246E21BC4B}" dt="2022-06-12T20:41:17.770" v="775"/>
          <ac:picMkLst>
            <pc:docMk/>
            <pc:sldMk cId="2494720194" sldId="257"/>
            <ac:picMk id="132" creationId="{D1304577-1C9A-4E2F-B757-7ACD15777C63}"/>
          </ac:picMkLst>
        </pc:picChg>
        <pc:picChg chg="mod ord">
          <ac:chgData name="Alex Pelaez" userId="cbc59824-fd90-4c3e-a66e-bac696fc3be6" providerId="ADAL" clId="{F38F8BE7-0006-48F0-A674-FE246E21BC4B}" dt="2022-06-12T20:41:17.771" v="779"/>
          <ac:picMkLst>
            <pc:docMk/>
            <pc:sldMk cId="2494720194" sldId="257"/>
            <ac:picMk id="133" creationId="{DB9D8117-EF99-42E3-93A4-D0576F36424B}"/>
          </ac:picMkLst>
        </pc:picChg>
        <pc:picChg chg="mod ord">
          <ac:chgData name="Alex Pelaez" userId="cbc59824-fd90-4c3e-a66e-bac696fc3be6" providerId="ADAL" clId="{F38F8BE7-0006-48F0-A674-FE246E21BC4B}" dt="2022-06-12T20:41:26.031" v="784"/>
          <ac:picMkLst>
            <pc:docMk/>
            <pc:sldMk cId="2494720194" sldId="257"/>
            <ac:picMk id="134" creationId="{AF2CF5DB-A56E-43CF-8340-1D490BC87A87}"/>
          </ac:picMkLst>
        </pc:picChg>
        <pc:cxnChg chg="mod ord">
          <ac:chgData name="Alex Pelaez" userId="cbc59824-fd90-4c3e-a66e-bac696fc3be6" providerId="ADAL" clId="{F38F8BE7-0006-48F0-A674-FE246E21BC4B}" dt="2022-06-12T20:41:17.757" v="739"/>
          <ac:cxnSpMkLst>
            <pc:docMk/>
            <pc:sldMk cId="2494720194" sldId="257"/>
            <ac:cxnSpMk id="104" creationId="{383EE2DB-743B-423E-BE4F-28CF7C5F52FC}"/>
          </ac:cxnSpMkLst>
        </pc:cxnChg>
      </pc:sldChg>
      <pc:sldChg chg="addSp delSp modSp new add mod">
        <pc:chgData name="Alex Pelaez" userId="cbc59824-fd90-4c3e-a66e-bac696fc3be6" providerId="ADAL" clId="{F38F8BE7-0006-48F0-A674-FE246E21BC4B}" dt="2022-06-12T20:50:50.579" v="826"/>
        <pc:sldMkLst>
          <pc:docMk/>
          <pc:sldMk cId="3476147337" sldId="258"/>
        </pc:sldMkLst>
        <pc:spChg chg="del">
          <ac:chgData name="Alex Pelaez" userId="cbc59824-fd90-4c3e-a66e-bac696fc3be6" providerId="ADAL" clId="{F38F8BE7-0006-48F0-A674-FE246E21BC4B}" dt="2022-06-12T20:49:28.720" v="801" actId="478"/>
          <ac:spMkLst>
            <pc:docMk/>
            <pc:sldMk cId="3476147337" sldId="258"/>
            <ac:spMk id="2" creationId="{01422C43-8C53-4892-A971-034646C15FEF}"/>
          </ac:spMkLst>
        </pc:spChg>
        <pc:spChg chg="del">
          <ac:chgData name="Alex Pelaez" userId="cbc59824-fd90-4c3e-a66e-bac696fc3be6" providerId="ADAL" clId="{F38F8BE7-0006-48F0-A674-FE246E21BC4B}" dt="2022-06-12T20:49:30.365" v="817" actId="478"/>
          <ac:spMkLst>
            <pc:docMk/>
            <pc:sldMk cId="3476147337" sldId="258"/>
            <ac:spMk id="3" creationId="{505C46A1-A95E-4208-ACB9-B5727D53A8ED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4" creationId="{01D893EF-3191-46A7-85A0-C34D40CEA6A9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6" creationId="{CCD812C1-9654-4298-8F9A-4AB1E2955001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7" creationId="{6AF56EDD-8993-417B-8E2D-ED0843D93B78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15" creationId="{31DA7DF6-092B-4D6E-9070-689D02B1309A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16" creationId="{B7C14D60-789D-42DD-989F-BA50B211838A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17" creationId="{41E36988-73E4-4214-9514-789D46BC568F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25" creationId="{B6D7050A-8F3C-49B0-9BDF-94EA57BD2B1A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26" creationId="{B9BD146A-952C-4030-A46F-72019D3591EB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27" creationId="{42D4BE47-0C9C-4340-8227-797F1673A269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35" creationId="{9F69CA66-0C45-4684-B7FB-7961E376644E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36" creationId="{88DD5834-8CE3-4936-B87A-C2EF6122EFDB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37" creationId="{01016C7B-F759-43A1-B269-76FB0BC30909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45" creationId="{D86532DC-E441-481F-9EB4-44EA578258C1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46" creationId="{403BD267-FC3E-4D1D-A304-7A25BCBAB51B}"/>
          </ac:spMkLst>
        </pc:spChg>
        <pc:spChg chg="mod">
          <ac:chgData name="Alex Pelaez" userId="cbc59824-fd90-4c3e-a66e-bac696fc3be6" providerId="ADAL" clId="{F38F8BE7-0006-48F0-A674-FE246E21BC4B}" dt="2022-06-12T20:49:21.723" v="797"/>
          <ac:spMkLst>
            <pc:docMk/>
            <pc:sldMk cId="3476147337" sldId="258"/>
            <ac:spMk id="47" creationId="{9C6E95E4-3E34-4B1F-B6FE-DD131F292614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48" creationId="{47000F2E-28FD-478C-B8BD-D801E299E696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49" creationId="{5558E5DC-AF13-469E-AA2A-1CED4E1066A8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0" creationId="{CA64D6EE-6C87-4CD0-91FC-C86B0D46BC7E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1" creationId="{3C6C6826-2D8C-48B0-AF9C-F70C46D6426B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2" creationId="{B32D36E8-AA56-417C-AFBB-4948F4E28855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3" creationId="{D062F172-11C5-44B5-B10E-CB0D1A0F9D43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4" creationId="{9A070A90-61DC-46C1-8432-36961970EC6D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5" creationId="{C3203757-608E-427E-B3F2-B927D6B161BF}"/>
          </ac:spMkLst>
        </pc:spChg>
        <pc:spChg chg="add del mod">
          <ac:chgData name="Alex Pelaez" userId="cbc59824-fd90-4c3e-a66e-bac696fc3be6" providerId="ADAL" clId="{F38F8BE7-0006-48F0-A674-FE246E21BC4B}" dt="2022-06-12T20:49:23.964" v="798"/>
          <ac:spMkLst>
            <pc:docMk/>
            <pc:sldMk cId="3476147337" sldId="258"/>
            <ac:spMk id="58" creationId="{41F4A5EA-D209-4B13-8D44-6F0A0254E5E2}"/>
          </ac:spMkLst>
        </pc:spChg>
        <pc:grpChg chg="add del mod">
          <ac:chgData name="Alex Pelaez" userId="cbc59824-fd90-4c3e-a66e-bac696fc3be6" providerId="ADAL" clId="{F38F8BE7-0006-48F0-A674-FE246E21BC4B}" dt="2022-06-12T20:49:23.964" v="798"/>
          <ac:grpSpMkLst>
            <pc:docMk/>
            <pc:sldMk cId="3476147337" sldId="258"/>
            <ac:grpSpMk id="8" creationId="{B0E6A027-108A-4328-90ED-C663CF6351C3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9" creationId="{81D13099-7E95-4210-B514-0CEF76AD4B0D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14" creationId="{4931F15F-3206-4C73-A3FB-5FC4AAE2AAED}"/>
          </ac:grpSpMkLst>
        </pc:grpChg>
        <pc:grpChg chg="add del mod">
          <ac:chgData name="Alex Pelaez" userId="cbc59824-fd90-4c3e-a66e-bac696fc3be6" providerId="ADAL" clId="{F38F8BE7-0006-48F0-A674-FE246E21BC4B}" dt="2022-06-12T20:49:23.964" v="798"/>
          <ac:grpSpMkLst>
            <pc:docMk/>
            <pc:sldMk cId="3476147337" sldId="258"/>
            <ac:grpSpMk id="18" creationId="{0BE6D746-5C95-48E8-8B3D-2D00B348C4B7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19" creationId="{71E129BD-77AE-4AE3-8623-74F8C5A39678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24" creationId="{11E83623-35B1-4C23-9A81-B33604F70DF5}"/>
          </ac:grpSpMkLst>
        </pc:grpChg>
        <pc:grpChg chg="add del mod">
          <ac:chgData name="Alex Pelaez" userId="cbc59824-fd90-4c3e-a66e-bac696fc3be6" providerId="ADAL" clId="{F38F8BE7-0006-48F0-A674-FE246E21BC4B}" dt="2022-06-12T20:49:23.964" v="798"/>
          <ac:grpSpMkLst>
            <pc:docMk/>
            <pc:sldMk cId="3476147337" sldId="258"/>
            <ac:grpSpMk id="28" creationId="{BC6DA3B7-55BA-4618-B62D-7864FCC05270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29" creationId="{9D36AA95-A3D8-4EBE-8459-1DA445AAA214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34" creationId="{D374AAE4-D743-435D-ADB4-AD4B30A4AD3D}"/>
          </ac:grpSpMkLst>
        </pc:grpChg>
        <pc:grpChg chg="add del mod">
          <ac:chgData name="Alex Pelaez" userId="cbc59824-fd90-4c3e-a66e-bac696fc3be6" providerId="ADAL" clId="{F38F8BE7-0006-48F0-A674-FE246E21BC4B}" dt="2022-06-12T20:49:23.964" v="798"/>
          <ac:grpSpMkLst>
            <pc:docMk/>
            <pc:sldMk cId="3476147337" sldId="258"/>
            <ac:grpSpMk id="38" creationId="{5DC1B717-CF8F-4F51-A384-35718F137A03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39" creationId="{1D019D46-617A-47B2-8082-8156B3D356F8}"/>
          </ac:grpSpMkLst>
        </pc:grpChg>
        <pc:grpChg chg="mod">
          <ac:chgData name="Alex Pelaez" userId="cbc59824-fd90-4c3e-a66e-bac696fc3be6" providerId="ADAL" clId="{F38F8BE7-0006-48F0-A674-FE246E21BC4B}" dt="2022-06-12T20:49:21.723" v="797"/>
          <ac:grpSpMkLst>
            <pc:docMk/>
            <pc:sldMk cId="3476147337" sldId="258"/>
            <ac:grpSpMk id="44" creationId="{FF3EC362-D463-4940-99EF-45670BE93190}"/>
          </ac:grpSpMkLst>
        </pc:grpChg>
        <pc:graphicFrameChg chg="add mod ord modVis">
          <ac:chgData name="Alex Pelaez" userId="cbc59824-fd90-4c3e-a66e-bac696fc3be6" providerId="ADAL" clId="{F38F8BE7-0006-48F0-A674-FE246E21BC4B}" dt="2022-06-12T20:49:29.286" v="816"/>
          <ac:graphicFrameMkLst>
            <pc:docMk/>
            <pc:sldMk cId="3476147337" sldId="258"/>
            <ac:graphicFrameMk id="62" creationId="{9BC454BB-D89E-4347-893B-7A33805D5BDB}"/>
          </ac:graphicFrameMkLst>
        </pc:graphicFrame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10" creationId="{CD49E15F-A967-49B4-8A43-E7810D96C73F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11" creationId="{3CCA3AA6-78B7-4458-8DC1-96A5EAE67EB2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12" creationId="{6AA0EAAB-B916-4170-82E6-6C80DF45E619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13" creationId="{F5C280D5-72B7-4996-8823-A246DD16842B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20" creationId="{144A6F76-F4C5-4E8F-829B-893F6A93664C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21" creationId="{03E48279-DAD8-44B4-B916-9D3F6BFF831D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22" creationId="{CF9E2DFC-2CC3-4B4F-9D5F-E61C02A5CA62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23" creationId="{91024BC7-8D9E-412A-8BCF-089200269D27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30" creationId="{0914EDEA-4C82-4023-91E1-D087B70C937C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31" creationId="{1391BCE3-440B-4CFF-8B02-3F52CEA332B4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32" creationId="{D989CEC5-3990-4E72-86B4-4F87D3C421AD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33" creationId="{8B672073-7105-4F0C-92DE-41E275342FE2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40" creationId="{05532D94-9456-4771-89F5-18AA1718E689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41" creationId="{4AC5C0EE-4281-44BE-B7D0-2D94AD12F181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42" creationId="{0E5E3DFA-64A8-4C3D-BB06-B53791E8B80C}"/>
          </ac:picMkLst>
        </pc:picChg>
        <pc:picChg chg="mod">
          <ac:chgData name="Alex Pelaez" userId="cbc59824-fd90-4c3e-a66e-bac696fc3be6" providerId="ADAL" clId="{F38F8BE7-0006-48F0-A674-FE246E21BC4B}" dt="2022-06-12T20:49:21.723" v="797"/>
          <ac:picMkLst>
            <pc:docMk/>
            <pc:sldMk cId="3476147337" sldId="258"/>
            <ac:picMk id="43" creationId="{301E63D4-32F4-46E3-917D-3E4283CC1D45}"/>
          </ac:picMkLst>
        </pc:picChg>
        <pc:picChg chg="add del mod">
          <ac:chgData name="Alex Pelaez" userId="cbc59824-fd90-4c3e-a66e-bac696fc3be6" providerId="ADAL" clId="{F38F8BE7-0006-48F0-A674-FE246E21BC4B}" dt="2022-06-12T20:49:23.964" v="798"/>
          <ac:picMkLst>
            <pc:docMk/>
            <pc:sldMk cId="3476147337" sldId="258"/>
            <ac:picMk id="56" creationId="{AC59BA5A-226B-4974-8B15-39272B7B069F}"/>
          </ac:picMkLst>
        </pc:picChg>
        <pc:picChg chg="add del mod">
          <ac:chgData name="Alex Pelaez" userId="cbc59824-fd90-4c3e-a66e-bac696fc3be6" providerId="ADAL" clId="{F38F8BE7-0006-48F0-A674-FE246E21BC4B}" dt="2022-06-12T20:49:23.964" v="798"/>
          <ac:picMkLst>
            <pc:docMk/>
            <pc:sldMk cId="3476147337" sldId="258"/>
            <ac:picMk id="57" creationId="{504DE279-40E3-4A8D-AC50-9268E1232F71}"/>
          </ac:picMkLst>
        </pc:picChg>
        <pc:picChg chg="add del mod">
          <ac:chgData name="Alex Pelaez" userId="cbc59824-fd90-4c3e-a66e-bac696fc3be6" providerId="ADAL" clId="{F38F8BE7-0006-48F0-A674-FE246E21BC4B}" dt="2022-06-12T20:49:23.964" v="798"/>
          <ac:picMkLst>
            <pc:docMk/>
            <pc:sldMk cId="3476147337" sldId="258"/>
            <ac:picMk id="59" creationId="{173690CD-2B56-4813-A631-C5B1FAA9264E}"/>
          </ac:picMkLst>
        </pc:picChg>
        <pc:picChg chg="add del mod">
          <ac:chgData name="Alex Pelaez" userId="cbc59824-fd90-4c3e-a66e-bac696fc3be6" providerId="ADAL" clId="{F38F8BE7-0006-48F0-A674-FE246E21BC4B}" dt="2022-06-12T20:49:23.964" v="798"/>
          <ac:picMkLst>
            <pc:docMk/>
            <pc:sldMk cId="3476147337" sldId="258"/>
            <ac:picMk id="60" creationId="{D780F7BC-E8EC-4A7E-9EEF-E0D8FF6E00E6}"/>
          </ac:picMkLst>
        </pc:picChg>
        <pc:picChg chg="add mod modCrop">
          <ac:chgData name="Alex Pelaez" userId="cbc59824-fd90-4c3e-a66e-bac696fc3be6" providerId="ADAL" clId="{F38F8BE7-0006-48F0-A674-FE246E21BC4B}" dt="2022-06-12T20:49:57.604" v="821"/>
          <ac:picMkLst>
            <pc:docMk/>
            <pc:sldMk cId="3476147337" sldId="258"/>
            <ac:picMk id="61" creationId="{9EE83AEC-170C-48AF-86A4-6908AACDC5BF}"/>
          </ac:picMkLst>
        </pc:picChg>
        <pc:picChg chg="add mod">
          <ac:chgData name="Alex Pelaez" userId="cbc59824-fd90-4c3e-a66e-bac696fc3be6" providerId="ADAL" clId="{F38F8BE7-0006-48F0-A674-FE246E21BC4B}" dt="2022-06-12T20:50:50.579" v="826"/>
          <ac:picMkLst>
            <pc:docMk/>
            <pc:sldMk cId="3476147337" sldId="258"/>
            <ac:picMk id="63" creationId="{E6153963-3ED2-4724-8F6A-62792CD28080}"/>
          </ac:picMkLst>
        </pc:picChg>
        <pc:cxnChg chg="add del mod">
          <ac:chgData name="Alex Pelaez" userId="cbc59824-fd90-4c3e-a66e-bac696fc3be6" providerId="ADAL" clId="{F38F8BE7-0006-48F0-A674-FE246E21BC4B}" dt="2022-06-12T20:49:23.964" v="798"/>
          <ac:cxnSpMkLst>
            <pc:docMk/>
            <pc:sldMk cId="3476147337" sldId="258"/>
            <ac:cxnSpMk id="5" creationId="{072F6A3C-6FC7-4D8F-8F9B-F8F6770B2D19}"/>
          </ac:cxnSpMkLst>
        </pc:cxnChg>
      </pc:sldChg>
      <pc:sldChg chg="addSp delSp modSp add mod">
        <pc:chgData name="Alex Pelaez" userId="cbc59824-fd90-4c3e-a66e-bac696fc3be6" providerId="ADAL" clId="{F38F8BE7-0006-48F0-A674-FE246E21BC4B}" dt="2022-06-12T23:10:37.130" v="894"/>
        <pc:sldMkLst>
          <pc:docMk/>
          <pc:sldMk cId="721035856" sldId="259"/>
        </pc:sldMkLst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11" creationId="{872356F9-9A78-4F8B-A7CB-8C3E0B998F71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12" creationId="{45E10A9E-0589-4429-A488-5320E34DB28C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13" creationId="{0DE1A925-C6CD-4ACE-8325-EC42CF1EF246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21" creationId="{AEBD1106-E8C9-49C6-9216-66A5D2EF20B2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22" creationId="{EB99C502-AA12-4995-9BF3-031805C9CB43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23" creationId="{265A9F77-CAE1-4CD1-B04D-8097AB4D1696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31" creationId="{EC3D1EBF-6494-459E-A005-7C6526284EFB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32" creationId="{D1244BB3-2012-4B13-9F19-8A3725DF39C3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33" creationId="{FCFBF3C9-7BC1-42FF-82A4-7F68C6AAB788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41" creationId="{5C3302EA-C763-4B47-870B-B63DF61C4F99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42" creationId="{E51EA134-3F4F-4645-AAD8-0E5285C285F1}"/>
          </ac:spMkLst>
        </pc:spChg>
        <pc:spChg chg="mod">
          <ac:chgData name="Alex Pelaez" userId="cbc59824-fd90-4c3e-a66e-bac696fc3be6" providerId="ADAL" clId="{F38F8BE7-0006-48F0-A674-FE246E21BC4B}" dt="2022-06-12T23:10:32.813" v="892"/>
          <ac:spMkLst>
            <pc:docMk/>
            <pc:sldMk cId="721035856" sldId="259"/>
            <ac:spMk id="43" creationId="{578A4C77-454F-479D-B166-9A813CC8CAEA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44" creationId="{F8C6AA6F-76F0-46B0-A3D1-7E9D62EF3280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45" creationId="{BF6F7B2C-2198-45AE-B856-1429CD5536FA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46" creationId="{6CE4D21E-17A4-4E6E-8CAF-272234726E4D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47" creationId="{B0A66DB6-E267-453D-9CEE-9ED1BAF7F821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49" creationId="{CEDCC359-AAC5-4B71-8084-2827FCBDA6E2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0" creationId="{24ADCC82-A48F-41FF-9B74-6E175D6E995D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1" creationId="{4F6A4278-61B9-4216-90B3-0227534BC2EE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2" creationId="{2A4C7E94-2611-4065-B2C2-8C6AB6CFCB12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3" creationId="{F1267FB1-9EFF-4A34-B03C-BEE1799F24AD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4" creationId="{DF78DAA2-C319-49B9-9B58-55AED39B9A95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5" creationId="{909D7E9E-3F4E-4439-B92E-FB2EA6393C61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6" creationId="{12D25187-FC43-4F4E-91B8-79CDCD415157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7" creationId="{1C6F16AC-CEA8-4ECE-9C5B-65C5E07569B9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8" creationId="{EF9F90D9-DB4A-4B1B-B32E-19A6B5483BC0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59" creationId="{BF0AE07C-C22D-4852-9B76-6C9D8A372E7C}"/>
          </ac:spMkLst>
        </pc:spChg>
        <pc:spChg chg="add del mod">
          <ac:chgData name="Alex Pelaez" userId="cbc59824-fd90-4c3e-a66e-bac696fc3be6" providerId="ADAL" clId="{F38F8BE7-0006-48F0-A674-FE246E21BC4B}" dt="2022-06-12T23:10:37.029" v="893"/>
          <ac:spMkLst>
            <pc:docMk/>
            <pc:sldMk cId="721035856" sldId="259"/>
            <ac:spMk id="60" creationId="{2752D06A-81CA-4505-A9F6-3555FE3F4295}"/>
          </ac:spMkLst>
        </pc:spChg>
        <pc:grpChg chg="add del mod">
          <ac:chgData name="Alex Pelaez" userId="cbc59824-fd90-4c3e-a66e-bac696fc3be6" providerId="ADAL" clId="{F38F8BE7-0006-48F0-A674-FE246E21BC4B}" dt="2022-06-12T23:10:37.029" v="893"/>
          <ac:grpSpMkLst>
            <pc:docMk/>
            <pc:sldMk cId="721035856" sldId="259"/>
            <ac:grpSpMk id="4" creationId="{0FF92619-66E4-4E22-B7E7-F300AD3337FB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5" creationId="{A4E9722E-0316-4519-B1D9-A0B6088E385A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10" creationId="{647FCFBC-9B52-4F2A-9C70-81EBA5317D4D}"/>
          </ac:grpSpMkLst>
        </pc:grpChg>
        <pc:grpChg chg="add del mod">
          <ac:chgData name="Alex Pelaez" userId="cbc59824-fd90-4c3e-a66e-bac696fc3be6" providerId="ADAL" clId="{F38F8BE7-0006-48F0-A674-FE246E21BC4B}" dt="2022-06-12T23:10:37.029" v="893"/>
          <ac:grpSpMkLst>
            <pc:docMk/>
            <pc:sldMk cId="721035856" sldId="259"/>
            <ac:grpSpMk id="14" creationId="{D67DEC35-0C20-4F58-BA0B-0069A2B36639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15" creationId="{5F9EBFF2-2FB7-42BF-BF1F-33861D29A1CA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20" creationId="{3CF80CE7-0D77-41F0-873B-6AEA15395A38}"/>
          </ac:grpSpMkLst>
        </pc:grpChg>
        <pc:grpChg chg="add del mod">
          <ac:chgData name="Alex Pelaez" userId="cbc59824-fd90-4c3e-a66e-bac696fc3be6" providerId="ADAL" clId="{F38F8BE7-0006-48F0-A674-FE246E21BC4B}" dt="2022-06-12T23:10:37.029" v="893"/>
          <ac:grpSpMkLst>
            <pc:docMk/>
            <pc:sldMk cId="721035856" sldId="259"/>
            <ac:grpSpMk id="24" creationId="{B55F0FF4-6D80-4982-A11D-7D73607171B0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25" creationId="{C3CCD5DF-6DA0-483D-9A9B-4C330AB2295D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30" creationId="{F1102CB5-1FE3-4F38-8AB6-E1B2ADFD3FC8}"/>
          </ac:grpSpMkLst>
        </pc:grpChg>
        <pc:grpChg chg="add del mod">
          <ac:chgData name="Alex Pelaez" userId="cbc59824-fd90-4c3e-a66e-bac696fc3be6" providerId="ADAL" clId="{F38F8BE7-0006-48F0-A674-FE246E21BC4B}" dt="2022-06-12T23:10:37.029" v="893"/>
          <ac:grpSpMkLst>
            <pc:docMk/>
            <pc:sldMk cId="721035856" sldId="259"/>
            <ac:grpSpMk id="34" creationId="{67A14A78-3792-4073-8086-F2F8FFC6EDD7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35" creationId="{9030BE4C-832C-4C1B-A994-3C5812DED8ED}"/>
          </ac:grpSpMkLst>
        </pc:grpChg>
        <pc:grpChg chg="mod">
          <ac:chgData name="Alex Pelaez" userId="cbc59824-fd90-4c3e-a66e-bac696fc3be6" providerId="ADAL" clId="{F38F8BE7-0006-48F0-A674-FE246E21BC4B}" dt="2022-06-12T23:10:32.813" v="892"/>
          <ac:grpSpMkLst>
            <pc:docMk/>
            <pc:sldMk cId="721035856" sldId="259"/>
            <ac:grpSpMk id="40" creationId="{01150C09-8669-4BDD-9612-20249A8D2731}"/>
          </ac:grpSpMkLst>
        </pc:grpChg>
        <pc:picChg chg="add">
          <ac:chgData name="Alex Pelaez" userId="cbc59824-fd90-4c3e-a66e-bac696fc3be6" providerId="ADAL" clId="{F38F8BE7-0006-48F0-A674-FE246E21BC4B}" dt="2022-06-12T23:10:37.130" v="894"/>
          <ac:picMkLst>
            <pc:docMk/>
            <pc:sldMk cId="721035856" sldId="259"/>
            <ac:picMk id="2" creationId="{10A0BA40-3728-4680-982A-52740D8D9B0B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6" creationId="{6121FB51-2CB4-4254-A684-45209235CF1A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7" creationId="{54875201-9248-4F87-A17D-96D06E0FFF70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8" creationId="{FF6C3325-9560-4836-BE26-25823B80B1C8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9" creationId="{28E83F34-EECE-4576-96EC-7A7E701B1151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16" creationId="{082041D7-9607-4467-981F-6841C8B477EC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17" creationId="{EFA39A29-F175-49C8-8ED7-AD0C568D19AE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18" creationId="{A602DE4B-C265-4080-B8AE-BC5D50662E4E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19" creationId="{D3C271F5-5CB1-4D39-B919-1C836033B049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26" creationId="{494EE6CE-2566-414A-BCA1-135740BC0A9F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27" creationId="{C87A1F4C-E74F-4CA7-95F3-168400BE8BF5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28" creationId="{0525CF2E-B8E0-4718-BB8E-A81C94F20C07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29" creationId="{33DD9D60-8558-44AF-B0AF-03A8D8A949BF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36" creationId="{2FB8E005-B133-4CB3-B55D-5DEBC5C78374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37" creationId="{1191EA14-511A-44A1-9DD2-07315324D039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38" creationId="{09316EF4-52A2-4E38-9BE9-8E353F52949F}"/>
          </ac:picMkLst>
        </pc:picChg>
        <pc:picChg chg="mod">
          <ac:chgData name="Alex Pelaez" userId="cbc59824-fd90-4c3e-a66e-bac696fc3be6" providerId="ADAL" clId="{F38F8BE7-0006-48F0-A674-FE246E21BC4B}" dt="2022-06-12T23:10:32.813" v="892"/>
          <ac:picMkLst>
            <pc:docMk/>
            <pc:sldMk cId="721035856" sldId="259"/>
            <ac:picMk id="39" creationId="{D3E70694-1B10-40C4-9EE7-FC7B0FB6FB2E}"/>
          </ac:picMkLst>
        </pc:picChg>
        <pc:picChg chg="del mod modCrop">
          <ac:chgData name="Alex Pelaez" userId="cbc59824-fd90-4c3e-a66e-bac696fc3be6" providerId="ADAL" clId="{F38F8BE7-0006-48F0-A674-FE246E21BC4B}" dt="2022-06-12T20:50:49.038" v="825" actId="21"/>
          <ac:picMkLst>
            <pc:docMk/>
            <pc:sldMk cId="721035856" sldId="259"/>
            <ac:picMk id="61" creationId="{9EE83AEC-170C-48AF-86A4-6908AACDC5BF}"/>
          </ac:picMkLst>
        </pc:picChg>
        <pc:cxnChg chg="add del mod">
          <ac:chgData name="Alex Pelaez" userId="cbc59824-fd90-4c3e-a66e-bac696fc3be6" providerId="ADAL" clId="{F38F8BE7-0006-48F0-A674-FE246E21BC4B}" dt="2022-06-12T23:10:37.029" v="893"/>
          <ac:cxnSpMkLst>
            <pc:docMk/>
            <pc:sldMk cId="721035856" sldId="259"/>
            <ac:cxnSpMk id="48" creationId="{3DB536AB-F32C-4589-94B7-AFB042F03681}"/>
          </ac:cxnSpMkLst>
        </pc:cxnChg>
      </pc:sldChg>
      <pc:sldChg chg="addSp delSp modSp new add mod">
        <pc:chgData name="Alex Pelaez" userId="cbc59824-fd90-4c3e-a66e-bac696fc3be6" providerId="ADAL" clId="{F38F8BE7-0006-48F0-A674-FE246E21BC4B}" dt="2022-06-12T23:14:13.190" v="975"/>
        <pc:sldMkLst>
          <pc:docMk/>
          <pc:sldMk cId="1095934140" sldId="260"/>
        </pc:sldMkLst>
        <pc:spChg chg="del">
          <ac:chgData name="Alex Pelaez" userId="cbc59824-fd90-4c3e-a66e-bac696fc3be6" providerId="ADAL" clId="{F38F8BE7-0006-48F0-A674-FE246E21BC4B}" dt="2022-06-12T23:13:51.569" v="951" actId="478"/>
          <ac:spMkLst>
            <pc:docMk/>
            <pc:sldMk cId="1095934140" sldId="260"/>
            <ac:spMk id="2" creationId="{3DC05633-7840-4263-BEC7-F135E2FCA578}"/>
          </ac:spMkLst>
        </pc:spChg>
        <pc:spChg chg="del">
          <ac:chgData name="Alex Pelaez" userId="cbc59824-fd90-4c3e-a66e-bac696fc3be6" providerId="ADAL" clId="{F38F8BE7-0006-48F0-A674-FE246E21BC4B}" dt="2022-06-12T23:13:51.569" v="951" actId="478"/>
          <ac:spMkLst>
            <pc:docMk/>
            <pc:sldMk cId="1095934140" sldId="260"/>
            <ac:spMk id="3" creationId="{BEA4BE45-6A39-488B-A3EB-B025C2334BF9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" creationId="{5393D295-A6A9-40F8-8813-B4F79B2C6CF8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7" creationId="{230FD5BB-3509-43F7-AFB3-1CE89E412BD7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8" creationId="{BBC5DCAE-A7CB-4DB6-9804-EA1C6758F48F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16" creationId="{CE11BDC2-ACC1-417B-9238-D66EFF6F2B1E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17" creationId="{741CD27D-EBB6-4849-87D9-02C3B947EEEF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18" creationId="{ACCD05AB-178E-4CF3-AD17-143E26F2127A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26" creationId="{1EDDCCA4-61AD-4A17-9F6D-299983F447B2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27" creationId="{F75D281F-A262-4A55-A22F-34066B8102C1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28" creationId="{BA8DEB36-D17D-4DB0-96AC-F14E7833A4F6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36" creationId="{041EBA16-9C8E-4445-BABD-BD48AF555D9A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37" creationId="{00B8A43D-B0B4-4CFC-B7CE-410CDF8DBAF5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38" creationId="{462DF8B7-8377-4471-B32C-2A8AA4855FC4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46" creationId="{E643CF29-E757-4A0F-B268-5BDC17384365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47" creationId="{A3D08468-6513-4256-BC4A-B65296AE0EA3}"/>
          </ac:spMkLst>
        </pc:spChg>
        <pc:spChg chg="mod">
          <ac:chgData name="Alex Pelaez" userId="cbc59824-fd90-4c3e-a66e-bac696fc3be6" providerId="ADAL" clId="{F38F8BE7-0006-48F0-A674-FE246E21BC4B}" dt="2022-06-12T23:13:52.262" v="965"/>
          <ac:spMkLst>
            <pc:docMk/>
            <pc:sldMk cId="1095934140" sldId="260"/>
            <ac:spMk id="48" creationId="{7532C360-96F5-4874-8B6E-64AA290EBB2F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49" creationId="{9A57F000-5F2D-47D7-A510-09D3302285D3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0" creationId="{6C700F05-89E3-4309-9663-8254D86907FD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1" creationId="{A5E49A7D-D69A-405B-A43C-F39C4C1E4DEF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2" creationId="{DA7FA0DD-9480-4B00-AADC-1743174970BC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3" creationId="{3F60C4AB-01A4-40F0-9DB5-C54F877AD085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4" creationId="{2868E035-F445-424C-B94D-6C51B4005F84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5" creationId="{F2F10D8C-BEAA-4FB9-90A8-8A9356D1DD4D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6" creationId="{77A27E49-78A1-418D-9BB3-EE895395F0CA}"/>
          </ac:spMkLst>
        </pc:spChg>
        <pc:spChg chg="add del mod">
          <ac:chgData name="Alex Pelaez" userId="cbc59824-fd90-4c3e-a66e-bac696fc3be6" providerId="ADAL" clId="{F38F8BE7-0006-48F0-A674-FE246E21BC4B}" dt="2022-06-12T23:13:54.536" v="966"/>
          <ac:spMkLst>
            <pc:docMk/>
            <pc:sldMk cId="1095934140" sldId="260"/>
            <ac:spMk id="59" creationId="{C140CE15-08D5-4374-86C3-A11CD243B770}"/>
          </ac:spMkLst>
        </pc:spChg>
        <pc:spChg chg="add mod ord">
          <ac:chgData name="Alex Pelaez" userId="cbc59824-fd90-4c3e-a66e-bac696fc3be6" providerId="ADAL" clId="{F38F8BE7-0006-48F0-A674-FE246E21BC4B}" dt="2022-06-12T23:14:13.186" v="971"/>
          <ac:spMkLst>
            <pc:docMk/>
            <pc:sldMk cId="1095934140" sldId="260"/>
            <ac:spMk id="63" creationId="{E3E93DC4-43D1-4371-9FA0-C16DDC349257}"/>
          </ac:spMkLst>
        </pc:spChg>
        <pc:grpChg chg="add del mod">
          <ac:chgData name="Alex Pelaez" userId="cbc59824-fd90-4c3e-a66e-bac696fc3be6" providerId="ADAL" clId="{F38F8BE7-0006-48F0-A674-FE246E21BC4B}" dt="2022-06-12T23:13:54.536" v="966"/>
          <ac:grpSpMkLst>
            <pc:docMk/>
            <pc:sldMk cId="1095934140" sldId="260"/>
            <ac:grpSpMk id="9" creationId="{4B05FA7F-7E20-498E-A96E-D4CB481E035E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10" creationId="{3FE2BFDB-68FC-4537-8E8E-2F146ADFAA66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15" creationId="{1C529212-4D96-4FCD-B8DE-7EDC76136D55}"/>
          </ac:grpSpMkLst>
        </pc:grpChg>
        <pc:grpChg chg="add del mod">
          <ac:chgData name="Alex Pelaez" userId="cbc59824-fd90-4c3e-a66e-bac696fc3be6" providerId="ADAL" clId="{F38F8BE7-0006-48F0-A674-FE246E21BC4B}" dt="2022-06-12T23:13:54.536" v="966"/>
          <ac:grpSpMkLst>
            <pc:docMk/>
            <pc:sldMk cId="1095934140" sldId="260"/>
            <ac:grpSpMk id="19" creationId="{CE3487A2-E215-442E-8470-CC47488F87C9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20" creationId="{2B41CF9E-69F2-4601-B7DC-A372593A4713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25" creationId="{2E2E7B93-6071-4DA2-91FA-8FDFC287CB3B}"/>
          </ac:grpSpMkLst>
        </pc:grpChg>
        <pc:grpChg chg="add del mod">
          <ac:chgData name="Alex Pelaez" userId="cbc59824-fd90-4c3e-a66e-bac696fc3be6" providerId="ADAL" clId="{F38F8BE7-0006-48F0-A674-FE246E21BC4B}" dt="2022-06-12T23:13:54.536" v="966"/>
          <ac:grpSpMkLst>
            <pc:docMk/>
            <pc:sldMk cId="1095934140" sldId="260"/>
            <ac:grpSpMk id="29" creationId="{BC8D3174-A08C-46D9-84CD-179A98441B6F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30" creationId="{6FC63F9C-A76D-41FD-AA8F-E37DCF4FF549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35" creationId="{1B5AF131-36B0-4803-B8CE-A129016D61A2}"/>
          </ac:grpSpMkLst>
        </pc:grpChg>
        <pc:grpChg chg="add del mod">
          <ac:chgData name="Alex Pelaez" userId="cbc59824-fd90-4c3e-a66e-bac696fc3be6" providerId="ADAL" clId="{F38F8BE7-0006-48F0-A674-FE246E21BC4B}" dt="2022-06-12T23:13:54.536" v="966"/>
          <ac:grpSpMkLst>
            <pc:docMk/>
            <pc:sldMk cId="1095934140" sldId="260"/>
            <ac:grpSpMk id="39" creationId="{0CC38941-3D88-4596-A6E9-E7004074DB29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40" creationId="{C1FD2D33-89F8-47FB-BECE-CAA2126D1B58}"/>
          </ac:grpSpMkLst>
        </pc:grpChg>
        <pc:grpChg chg="mod">
          <ac:chgData name="Alex Pelaez" userId="cbc59824-fd90-4c3e-a66e-bac696fc3be6" providerId="ADAL" clId="{F38F8BE7-0006-48F0-A674-FE246E21BC4B}" dt="2022-06-12T23:13:52.262" v="965"/>
          <ac:grpSpMkLst>
            <pc:docMk/>
            <pc:sldMk cId="1095934140" sldId="260"/>
            <ac:grpSpMk id="45" creationId="{21D4A559-BE11-4A10-8A7E-8EF1CD35A79F}"/>
          </ac:grpSpMkLst>
        </pc:grpChg>
        <pc:graphicFrameChg chg="add mod modVis">
          <ac:chgData name="Alex Pelaez" userId="cbc59824-fd90-4c3e-a66e-bac696fc3be6" providerId="ADAL" clId="{F38F8BE7-0006-48F0-A674-FE246E21BC4B}" dt="2022-06-12T23:14:13.190" v="975"/>
          <ac:graphicFrameMkLst>
            <pc:docMk/>
            <pc:sldMk cId="1095934140" sldId="260"/>
            <ac:graphicFrameMk id="4" creationId="{5E2C48AA-9DA1-49BB-9B06-B2373F2AA38F}"/>
          </ac:graphicFrameMkLst>
        </pc:graphicFrame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11" creationId="{964052B8-665B-4801-8C2C-5BBD2CED569D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12" creationId="{FF56F825-84A3-4847-99A4-433A17108090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13" creationId="{2C7ABFCB-9490-487C-8AAD-8C347F31667F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14" creationId="{5E0DEB26-640A-45F3-A5E2-7385D7ADF6A0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21" creationId="{C12787FC-2382-488E-A417-6A74181DEB01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22" creationId="{E008CF91-13A6-45F4-B193-2B29F15303E1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23" creationId="{C972CCE2-5FA2-4941-9664-1137AA5EC411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24" creationId="{C75A97FC-34BE-418B-B073-274843E603A0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31" creationId="{9ACFC67C-E012-42F1-B9AC-3BBEDE055518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32" creationId="{92F02CE2-ED3F-4655-B176-4C0C5A971FB3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33" creationId="{A78F401B-13F5-40DA-81EC-B4C03A62C47C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34" creationId="{DD97E588-76AA-41F5-9BE7-76E405440B90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41" creationId="{DDD67E74-040D-4514-9A87-E685FE7809B8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42" creationId="{72A7F9B1-869E-4454-90BD-ADCE75209B5A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43" creationId="{86936059-D2DD-4860-A27C-76667C72CD84}"/>
          </ac:picMkLst>
        </pc:picChg>
        <pc:picChg chg="mod">
          <ac:chgData name="Alex Pelaez" userId="cbc59824-fd90-4c3e-a66e-bac696fc3be6" providerId="ADAL" clId="{F38F8BE7-0006-48F0-A674-FE246E21BC4B}" dt="2022-06-12T23:13:52.262" v="965"/>
          <ac:picMkLst>
            <pc:docMk/>
            <pc:sldMk cId="1095934140" sldId="260"/>
            <ac:picMk id="44" creationId="{72C9DA51-990E-4F9C-AC69-16CB8A71221D}"/>
          </ac:picMkLst>
        </pc:picChg>
        <pc:picChg chg="add del mod">
          <ac:chgData name="Alex Pelaez" userId="cbc59824-fd90-4c3e-a66e-bac696fc3be6" providerId="ADAL" clId="{F38F8BE7-0006-48F0-A674-FE246E21BC4B}" dt="2022-06-12T23:13:54.536" v="966"/>
          <ac:picMkLst>
            <pc:docMk/>
            <pc:sldMk cId="1095934140" sldId="260"/>
            <ac:picMk id="57" creationId="{AA8A1997-5301-4E15-9B29-F898649774D5}"/>
          </ac:picMkLst>
        </pc:picChg>
        <pc:picChg chg="add del mod">
          <ac:chgData name="Alex Pelaez" userId="cbc59824-fd90-4c3e-a66e-bac696fc3be6" providerId="ADAL" clId="{F38F8BE7-0006-48F0-A674-FE246E21BC4B}" dt="2022-06-12T23:13:54.536" v="966"/>
          <ac:picMkLst>
            <pc:docMk/>
            <pc:sldMk cId="1095934140" sldId="260"/>
            <ac:picMk id="58" creationId="{4F35A76F-F2B0-4BB5-A619-5526C1E88B2C}"/>
          </ac:picMkLst>
        </pc:picChg>
        <pc:picChg chg="add del mod">
          <ac:chgData name="Alex Pelaez" userId="cbc59824-fd90-4c3e-a66e-bac696fc3be6" providerId="ADAL" clId="{F38F8BE7-0006-48F0-A674-FE246E21BC4B}" dt="2022-06-12T23:13:54.536" v="966"/>
          <ac:picMkLst>
            <pc:docMk/>
            <pc:sldMk cId="1095934140" sldId="260"/>
            <ac:picMk id="60" creationId="{EA373AAA-823F-4034-885F-99B6737E3312}"/>
          </ac:picMkLst>
        </pc:picChg>
        <pc:picChg chg="add del mod">
          <ac:chgData name="Alex Pelaez" userId="cbc59824-fd90-4c3e-a66e-bac696fc3be6" providerId="ADAL" clId="{F38F8BE7-0006-48F0-A674-FE246E21BC4B}" dt="2022-06-12T23:13:54.536" v="966"/>
          <ac:picMkLst>
            <pc:docMk/>
            <pc:sldMk cId="1095934140" sldId="260"/>
            <ac:picMk id="61" creationId="{41839B9B-EC07-45DD-82D0-525BF7257A30}"/>
          </ac:picMkLst>
        </pc:picChg>
        <pc:picChg chg="add mod ord">
          <ac:chgData name="Alex Pelaez" userId="cbc59824-fd90-4c3e-a66e-bac696fc3be6" providerId="ADAL" clId="{F38F8BE7-0006-48F0-A674-FE246E21BC4B}" dt="2022-06-12T23:14:13.186" v="973"/>
          <ac:picMkLst>
            <pc:docMk/>
            <pc:sldMk cId="1095934140" sldId="260"/>
            <ac:picMk id="62" creationId="{E6591FE5-EB73-40EB-A16D-196C243A4FFB}"/>
          </ac:picMkLst>
        </pc:picChg>
        <pc:cxnChg chg="add del mod">
          <ac:chgData name="Alex Pelaez" userId="cbc59824-fd90-4c3e-a66e-bac696fc3be6" providerId="ADAL" clId="{F38F8BE7-0006-48F0-A674-FE246E21BC4B}" dt="2022-06-12T23:13:54.536" v="966"/>
          <ac:cxnSpMkLst>
            <pc:docMk/>
            <pc:sldMk cId="1095934140" sldId="260"/>
            <ac:cxnSpMk id="6" creationId="{FC42E817-5FCD-4EF2-ABBA-FCF1EE088A95}"/>
          </ac:cxnSpMkLst>
        </pc:cxnChg>
      </pc:sldChg>
    </pc:docChg>
  </pc:docChgLst>
  <pc:docChgLst>
    <pc:chgData name="Alex Pelaez" userId="cbc59824-fd90-4c3e-a66e-bac696fc3be6" providerId="ADAL" clId="{296FAF42-3D94-44F6-ACA6-45C1B525054F}"/>
    <pc:docChg chg="undo redo custSel modSld">
      <pc:chgData name="Alex Pelaez" userId="cbc59824-fd90-4c3e-a66e-bac696fc3be6" providerId="ADAL" clId="{296FAF42-3D94-44F6-ACA6-45C1B525054F}" dt="2022-06-12T20:15:16.422" v="685" actId="1076"/>
      <pc:docMkLst>
        <pc:docMk/>
      </pc:docMkLst>
      <pc:sldChg chg="addSp delSp modSp mod">
        <pc:chgData name="Alex Pelaez" userId="cbc59824-fd90-4c3e-a66e-bac696fc3be6" providerId="ADAL" clId="{296FAF42-3D94-44F6-ACA6-45C1B525054F}" dt="2022-06-12T20:15:16.422" v="685" actId="1076"/>
        <pc:sldMkLst>
          <pc:docMk/>
          <pc:sldMk cId="3072934698" sldId="256"/>
        </pc:sldMkLst>
        <pc:spChg chg="mod">
          <ac:chgData name="Alex Pelaez" userId="cbc59824-fd90-4c3e-a66e-bac696fc3be6" providerId="ADAL" clId="{296FAF42-3D94-44F6-ACA6-45C1B525054F}" dt="2022-06-12T11:15:49.154" v="429" actId="207"/>
          <ac:spMkLst>
            <pc:docMk/>
            <pc:sldMk cId="3072934698" sldId="256"/>
            <ac:spMk id="41" creationId="{40A62A94-99C4-4DFF-B5A3-D03B6E69FC2C}"/>
          </ac:spMkLst>
        </pc:spChg>
        <pc:spChg chg="mod">
          <ac:chgData name="Alex Pelaez" userId="cbc59824-fd90-4c3e-a66e-bac696fc3be6" providerId="ADAL" clId="{296FAF42-3D94-44F6-ACA6-45C1B525054F}" dt="2022-06-12T11:13:07.390" v="422" actId="207"/>
          <ac:spMkLst>
            <pc:docMk/>
            <pc:sldMk cId="3072934698" sldId="256"/>
            <ac:spMk id="43" creationId="{39A5CAFF-1BCE-47EE-B7A6-2937909FBCC8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49" creationId="{89706115-F7A2-4C1D-8741-4F45A63656E5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50" creationId="{8FA8C543-6EA4-4B5E-9104-9E2E4A80ECB6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52" creationId="{086AC676-F098-4BFF-8F80-B8D5239D7E8B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53" creationId="{D60FED1D-C104-4259-BB7B-5AB0A5FAE343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55" creationId="{2FB569DA-7554-4AA7-885C-E5AA5C99BB5D}"/>
          </ac:spMkLst>
        </pc:spChg>
        <pc:spChg chg="mod">
          <ac:chgData name="Alex Pelaez" userId="cbc59824-fd90-4c3e-a66e-bac696fc3be6" providerId="ADAL" clId="{296FAF42-3D94-44F6-ACA6-45C1B525054F}" dt="2022-06-12T10:47:29.796" v="29" actId="165"/>
          <ac:spMkLst>
            <pc:docMk/>
            <pc:sldMk cId="3072934698" sldId="256"/>
            <ac:spMk id="56" creationId="{5BF3A7C0-A74A-4D39-8520-9F44036D11B4}"/>
          </ac:spMkLst>
        </pc:spChg>
        <pc:spChg chg="add mod topLvl">
          <ac:chgData name="Alex Pelaez" userId="cbc59824-fd90-4c3e-a66e-bac696fc3be6" providerId="ADAL" clId="{296FAF42-3D94-44F6-ACA6-45C1B525054F}" dt="2022-06-12T11:07:57.603" v="391" actId="6549"/>
          <ac:spMkLst>
            <pc:docMk/>
            <pc:sldMk cId="3072934698" sldId="256"/>
            <ac:spMk id="60" creationId="{8D9EE6EE-FE14-42ED-B3E4-01726BF15EEC}"/>
          </ac:spMkLst>
        </pc:spChg>
        <pc:spChg chg="add del mod topLvl">
          <ac:chgData name="Alex Pelaez" userId="cbc59824-fd90-4c3e-a66e-bac696fc3be6" providerId="ADAL" clId="{296FAF42-3D94-44F6-ACA6-45C1B525054F}" dt="2022-06-12T10:47:55.877" v="33" actId="478"/>
          <ac:spMkLst>
            <pc:docMk/>
            <pc:sldMk cId="3072934698" sldId="256"/>
            <ac:spMk id="61" creationId="{9AE6BEF0-333D-40C5-8932-96550AAA1361}"/>
          </ac:spMkLst>
        </pc:spChg>
        <pc:spChg chg="add del mod ord">
          <ac:chgData name="Alex Pelaez" userId="cbc59824-fd90-4c3e-a66e-bac696fc3be6" providerId="ADAL" clId="{296FAF42-3D94-44F6-ACA6-45C1B525054F}" dt="2022-06-12T10:49:24.538" v="70" actId="478"/>
          <ac:spMkLst>
            <pc:docMk/>
            <pc:sldMk cId="3072934698" sldId="256"/>
            <ac:spMk id="63" creationId="{6F462598-14AB-4F34-8F19-B94628AC0FF0}"/>
          </ac:spMkLst>
        </pc:spChg>
        <pc:spChg chg="add del mod ord">
          <ac:chgData name="Alex Pelaez" userId="cbc59824-fd90-4c3e-a66e-bac696fc3be6" providerId="ADAL" clId="{296FAF42-3D94-44F6-ACA6-45C1B525054F}" dt="2022-06-12T10:49:24.538" v="70" actId="478"/>
          <ac:spMkLst>
            <pc:docMk/>
            <pc:sldMk cId="3072934698" sldId="256"/>
            <ac:spMk id="64" creationId="{49E30286-8451-4A88-AA38-C3F73F4CFC63}"/>
          </ac:spMkLst>
        </pc:spChg>
        <pc:spChg chg="add del mod ord">
          <ac:chgData name="Alex Pelaez" userId="cbc59824-fd90-4c3e-a66e-bac696fc3be6" providerId="ADAL" clId="{296FAF42-3D94-44F6-ACA6-45C1B525054F}" dt="2022-06-12T10:49:24.538" v="70" actId="478"/>
          <ac:spMkLst>
            <pc:docMk/>
            <pc:sldMk cId="3072934698" sldId="256"/>
            <ac:spMk id="65" creationId="{17991080-2F5C-4D47-895E-944D0ADD229D}"/>
          </ac:spMkLst>
        </pc:spChg>
        <pc:spChg chg="mod">
          <ac:chgData name="Alex Pelaez" userId="cbc59824-fd90-4c3e-a66e-bac696fc3be6" providerId="ADAL" clId="{296FAF42-3D94-44F6-ACA6-45C1B525054F}" dt="2022-06-12T20:10:23.059" v="582" actId="1035"/>
          <ac:spMkLst>
            <pc:docMk/>
            <pc:sldMk cId="3072934698" sldId="256"/>
            <ac:spMk id="75" creationId="{02BB37E2-115E-40EC-AA62-F9D2DD545436}"/>
          </ac:spMkLst>
        </pc:spChg>
        <pc:spChg chg="mod">
          <ac:chgData name="Alex Pelaez" userId="cbc59824-fd90-4c3e-a66e-bac696fc3be6" providerId="ADAL" clId="{296FAF42-3D94-44F6-ACA6-45C1B525054F}" dt="2022-06-12T11:01:57.895" v="232" actId="1076"/>
          <ac:spMkLst>
            <pc:docMk/>
            <pc:sldMk cId="3072934698" sldId="256"/>
            <ac:spMk id="76" creationId="{1124C4EA-5A77-4320-9400-0C2C9640149E}"/>
          </ac:spMkLst>
        </pc:spChg>
        <pc:spChg chg="mod">
          <ac:chgData name="Alex Pelaez" userId="cbc59824-fd90-4c3e-a66e-bac696fc3be6" providerId="ADAL" clId="{296FAF42-3D94-44F6-ACA6-45C1B525054F}" dt="2022-06-12T11:01:57.895" v="232" actId="1076"/>
          <ac:spMkLst>
            <pc:docMk/>
            <pc:sldMk cId="3072934698" sldId="256"/>
            <ac:spMk id="77" creationId="{7AFE12A9-0982-4DCE-B4E1-946DC5175041}"/>
          </ac:spMkLst>
        </pc:spChg>
        <pc:spChg chg="mod">
          <ac:chgData name="Alex Pelaez" userId="cbc59824-fd90-4c3e-a66e-bac696fc3be6" providerId="ADAL" clId="{296FAF42-3D94-44F6-ACA6-45C1B525054F}" dt="2022-06-12T20:14:16.951" v="633" actId="1035"/>
          <ac:spMkLst>
            <pc:docMk/>
            <pc:sldMk cId="3072934698" sldId="256"/>
            <ac:spMk id="85" creationId="{034C7E7F-E823-462A-AEBC-8384B326B8DE}"/>
          </ac:spMkLst>
        </pc:spChg>
        <pc:spChg chg="mod">
          <ac:chgData name="Alex Pelaez" userId="cbc59824-fd90-4c3e-a66e-bac696fc3be6" providerId="ADAL" clId="{296FAF42-3D94-44F6-ACA6-45C1B525054F}" dt="2022-06-12T11:15:06.481" v="427" actId="207"/>
          <ac:spMkLst>
            <pc:docMk/>
            <pc:sldMk cId="3072934698" sldId="256"/>
            <ac:spMk id="86" creationId="{2AB18BAB-0C51-4115-9C72-0B5D81F9C027}"/>
          </ac:spMkLst>
        </pc:spChg>
        <pc:spChg chg="mod">
          <ac:chgData name="Alex Pelaez" userId="cbc59824-fd90-4c3e-a66e-bac696fc3be6" providerId="ADAL" clId="{296FAF42-3D94-44F6-ACA6-45C1B525054F}" dt="2022-06-12T11:15:26.023" v="428" actId="207"/>
          <ac:spMkLst>
            <pc:docMk/>
            <pc:sldMk cId="3072934698" sldId="256"/>
            <ac:spMk id="87" creationId="{77E7D51F-62A6-4DFE-818D-AB17491A70FB}"/>
          </ac:spMkLst>
        </pc:spChg>
        <pc:spChg chg="mod">
          <ac:chgData name="Alex Pelaez" userId="cbc59824-fd90-4c3e-a66e-bac696fc3be6" providerId="ADAL" clId="{296FAF42-3D94-44F6-ACA6-45C1B525054F}" dt="2022-06-12T11:08:00.159" v="392" actId="6549"/>
          <ac:spMkLst>
            <pc:docMk/>
            <pc:sldMk cId="3072934698" sldId="256"/>
            <ac:spMk id="95" creationId="{CE9D5CFB-7D1C-4A13-8C7C-593EC6DDF3B7}"/>
          </ac:spMkLst>
        </pc:spChg>
        <pc:spChg chg="mod">
          <ac:chgData name="Alex Pelaez" userId="cbc59824-fd90-4c3e-a66e-bac696fc3be6" providerId="ADAL" clId="{296FAF42-3D94-44F6-ACA6-45C1B525054F}" dt="2022-06-12T11:16:25.311" v="430" actId="207"/>
          <ac:spMkLst>
            <pc:docMk/>
            <pc:sldMk cId="3072934698" sldId="256"/>
            <ac:spMk id="96" creationId="{89C5B378-B9D2-423A-862B-389B1726B63D}"/>
          </ac:spMkLst>
        </pc:spChg>
        <pc:spChg chg="mod">
          <ac:chgData name="Alex Pelaez" userId="cbc59824-fd90-4c3e-a66e-bac696fc3be6" providerId="ADAL" clId="{296FAF42-3D94-44F6-ACA6-45C1B525054F}" dt="2022-06-12T11:16:51.140" v="432" actId="1037"/>
          <ac:spMkLst>
            <pc:docMk/>
            <pc:sldMk cId="3072934698" sldId="256"/>
            <ac:spMk id="97" creationId="{5B9EE71E-BD14-406E-B7B3-66F91C967A25}"/>
          </ac:spMkLst>
        </pc:spChg>
        <pc:spChg chg="add del mod ord">
          <ac:chgData name="Alex Pelaez" userId="cbc59824-fd90-4c3e-a66e-bac696fc3be6" providerId="ADAL" clId="{296FAF42-3D94-44F6-ACA6-45C1B525054F}" dt="2022-06-12T10:55:38.321" v="155" actId="478"/>
          <ac:spMkLst>
            <pc:docMk/>
            <pc:sldMk cId="3072934698" sldId="256"/>
            <ac:spMk id="98" creationId="{318C74D1-A99D-4A66-B35E-700B8427474F}"/>
          </ac:spMkLst>
        </pc:spChg>
        <pc:spChg chg="add mod ord">
          <ac:chgData name="Alex Pelaez" userId="cbc59824-fd90-4c3e-a66e-bac696fc3be6" providerId="ADAL" clId="{296FAF42-3D94-44F6-ACA6-45C1B525054F}" dt="2022-06-12T20:15:01.305" v="646"/>
          <ac:spMkLst>
            <pc:docMk/>
            <pc:sldMk cId="3072934698" sldId="256"/>
            <ac:spMk id="99" creationId="{D319C0CE-D873-44A2-86C1-4F7CF216D23C}"/>
          </ac:spMkLst>
        </pc:spChg>
        <pc:spChg chg="add mod ord">
          <ac:chgData name="Alex Pelaez" userId="cbc59824-fd90-4c3e-a66e-bac696fc3be6" providerId="ADAL" clId="{296FAF42-3D94-44F6-ACA6-45C1B525054F}" dt="2022-06-12T20:15:01.306" v="648"/>
          <ac:spMkLst>
            <pc:docMk/>
            <pc:sldMk cId="3072934698" sldId="256"/>
            <ac:spMk id="100" creationId="{BB14C09A-16BC-49A5-95FE-B62875F788BD}"/>
          </ac:spMkLst>
        </pc:spChg>
        <pc:spChg chg="add mod ord">
          <ac:chgData name="Alex Pelaez" userId="cbc59824-fd90-4c3e-a66e-bac696fc3be6" providerId="ADAL" clId="{296FAF42-3D94-44F6-ACA6-45C1B525054F}" dt="2022-06-12T20:15:01.306" v="650"/>
          <ac:spMkLst>
            <pc:docMk/>
            <pc:sldMk cId="3072934698" sldId="256"/>
            <ac:spMk id="101" creationId="{F9998BA4-BC58-4BCF-918F-11C8012B1DBE}"/>
          </ac:spMkLst>
        </pc:spChg>
        <pc:spChg chg="add mod ord">
          <ac:chgData name="Alex Pelaez" userId="cbc59824-fd90-4c3e-a66e-bac696fc3be6" providerId="ADAL" clId="{296FAF42-3D94-44F6-ACA6-45C1B525054F}" dt="2022-06-12T20:15:01.307" v="652"/>
          <ac:spMkLst>
            <pc:docMk/>
            <pc:sldMk cId="3072934698" sldId="256"/>
            <ac:spMk id="102" creationId="{CF1C7F73-15C5-48BC-9CC0-C33EA3AEA977}"/>
          </ac:spMkLst>
        </pc:spChg>
        <pc:spChg chg="add mod ord">
          <ac:chgData name="Alex Pelaez" userId="cbc59824-fd90-4c3e-a66e-bac696fc3be6" providerId="ADAL" clId="{296FAF42-3D94-44F6-ACA6-45C1B525054F}" dt="2022-06-12T20:15:01.309" v="658"/>
          <ac:spMkLst>
            <pc:docMk/>
            <pc:sldMk cId="3072934698" sldId="256"/>
            <ac:spMk id="108" creationId="{6B957666-669E-4E18-B095-DB2E1608C527}"/>
          </ac:spMkLst>
        </pc:spChg>
        <pc:spChg chg="add mod ord">
          <ac:chgData name="Alex Pelaez" userId="cbc59824-fd90-4c3e-a66e-bac696fc3be6" providerId="ADAL" clId="{296FAF42-3D94-44F6-ACA6-45C1B525054F}" dt="2022-06-12T20:15:01.309" v="660"/>
          <ac:spMkLst>
            <pc:docMk/>
            <pc:sldMk cId="3072934698" sldId="256"/>
            <ac:spMk id="109" creationId="{95B11BAC-BEF4-4027-9C41-B51CD7C5E534}"/>
          </ac:spMkLst>
        </pc:spChg>
        <pc:spChg chg="add mod ord">
          <ac:chgData name="Alex Pelaez" userId="cbc59824-fd90-4c3e-a66e-bac696fc3be6" providerId="ADAL" clId="{296FAF42-3D94-44F6-ACA6-45C1B525054F}" dt="2022-06-12T20:15:01.310" v="662"/>
          <ac:spMkLst>
            <pc:docMk/>
            <pc:sldMk cId="3072934698" sldId="256"/>
            <ac:spMk id="110" creationId="{E9F6DB27-BC4D-47AE-AF0F-D20817054D7A}"/>
          </ac:spMkLst>
        </pc:spChg>
        <pc:spChg chg="add mod ord">
          <ac:chgData name="Alex Pelaez" userId="cbc59824-fd90-4c3e-a66e-bac696fc3be6" providerId="ADAL" clId="{296FAF42-3D94-44F6-ACA6-45C1B525054F}" dt="2022-06-12T20:15:01.310" v="664"/>
          <ac:spMkLst>
            <pc:docMk/>
            <pc:sldMk cId="3072934698" sldId="256"/>
            <ac:spMk id="111" creationId="{678EDBC4-84B4-481F-9875-BA9696888C25}"/>
          </ac:spMkLst>
        </pc:spChg>
        <pc:spChg chg="add mod ord">
          <ac:chgData name="Alex Pelaez" userId="cbc59824-fd90-4c3e-a66e-bac696fc3be6" providerId="ADAL" clId="{296FAF42-3D94-44F6-ACA6-45C1B525054F}" dt="2022-06-12T20:15:01.311" v="666"/>
          <ac:spMkLst>
            <pc:docMk/>
            <pc:sldMk cId="3072934698" sldId="256"/>
            <ac:spMk id="112" creationId="{8F8B30E9-4745-4427-9794-1C1A534816BB}"/>
          </ac:spMkLst>
        </pc:spChg>
        <pc:spChg chg="add mod ord">
          <ac:chgData name="Alex Pelaez" userId="cbc59824-fd90-4c3e-a66e-bac696fc3be6" providerId="ADAL" clId="{296FAF42-3D94-44F6-ACA6-45C1B525054F}" dt="2022-06-12T20:15:01.311" v="668"/>
          <ac:spMkLst>
            <pc:docMk/>
            <pc:sldMk cId="3072934698" sldId="256"/>
            <ac:spMk id="113" creationId="{4726F62C-8405-46B2-A1E8-0E3377C5131E}"/>
          </ac:spMkLst>
        </pc:spChg>
        <pc:spChg chg="add mod ord">
          <ac:chgData name="Alex Pelaez" userId="cbc59824-fd90-4c3e-a66e-bac696fc3be6" providerId="ADAL" clId="{296FAF42-3D94-44F6-ACA6-45C1B525054F}" dt="2022-06-12T20:15:01.312" v="670"/>
          <ac:spMkLst>
            <pc:docMk/>
            <pc:sldMk cId="3072934698" sldId="256"/>
            <ac:spMk id="114" creationId="{5577A276-17F8-4CA2-A019-900C6FB1CD44}"/>
          </ac:spMkLst>
        </pc:spChg>
        <pc:spChg chg="add mod ord">
          <ac:chgData name="Alex Pelaez" userId="cbc59824-fd90-4c3e-a66e-bac696fc3be6" providerId="ADAL" clId="{296FAF42-3D94-44F6-ACA6-45C1B525054F}" dt="2022-06-12T20:15:01.312" v="672"/>
          <ac:spMkLst>
            <pc:docMk/>
            <pc:sldMk cId="3072934698" sldId="256"/>
            <ac:spMk id="115" creationId="{D5C2CDF6-E385-406B-8A6F-BE8434C61218}"/>
          </ac:spMkLst>
        </pc:spChg>
        <pc:spChg chg="add mod ord">
          <ac:chgData name="Alex Pelaez" userId="cbc59824-fd90-4c3e-a66e-bac696fc3be6" providerId="ADAL" clId="{296FAF42-3D94-44F6-ACA6-45C1B525054F}" dt="2022-06-12T20:15:01.312" v="674"/>
          <ac:spMkLst>
            <pc:docMk/>
            <pc:sldMk cId="3072934698" sldId="256"/>
            <ac:spMk id="116" creationId="{4ABCDFC8-1814-491D-BC3B-99F1206B6D0C}"/>
          </ac:spMkLst>
        </pc:spChg>
        <pc:spChg chg="add mod ord">
          <ac:chgData name="Alex Pelaez" userId="cbc59824-fd90-4c3e-a66e-bac696fc3be6" providerId="ADAL" clId="{296FAF42-3D94-44F6-ACA6-45C1B525054F}" dt="2022-06-12T20:15:01.313" v="676"/>
          <ac:spMkLst>
            <pc:docMk/>
            <pc:sldMk cId="3072934698" sldId="256"/>
            <ac:spMk id="117" creationId="{E4CF82BE-57CF-4067-8B08-8CB4D2D2371D}"/>
          </ac:spMkLst>
        </pc:spChg>
        <pc:spChg chg="add mod ord">
          <ac:chgData name="Alex Pelaez" userId="cbc59824-fd90-4c3e-a66e-bac696fc3be6" providerId="ADAL" clId="{296FAF42-3D94-44F6-ACA6-45C1B525054F}" dt="2022-06-12T20:15:01.313" v="678"/>
          <ac:spMkLst>
            <pc:docMk/>
            <pc:sldMk cId="3072934698" sldId="256"/>
            <ac:spMk id="118" creationId="{0FE5B92B-BD73-4686-B783-E0AD42E57A6F}"/>
          </ac:spMkLst>
        </pc:spChg>
        <pc:spChg chg="add mod ord">
          <ac:chgData name="Alex Pelaez" userId="cbc59824-fd90-4c3e-a66e-bac696fc3be6" providerId="ADAL" clId="{296FAF42-3D94-44F6-ACA6-45C1B525054F}" dt="2022-06-12T20:15:01.314" v="680"/>
          <ac:spMkLst>
            <pc:docMk/>
            <pc:sldMk cId="3072934698" sldId="256"/>
            <ac:spMk id="119" creationId="{B2F4C453-8B7F-4EFF-BA78-830C787F7B99}"/>
          </ac:spMkLst>
        </pc:spChg>
        <pc:grpChg chg="del mod ord topLvl">
          <ac:chgData name="Alex Pelaez" userId="cbc59824-fd90-4c3e-a66e-bac696fc3be6" providerId="ADAL" clId="{296FAF42-3D94-44F6-ACA6-45C1B525054F}" dt="2022-06-12T10:49:35.539" v="71" actId="165"/>
          <ac:grpSpMkLst>
            <pc:docMk/>
            <pc:sldMk cId="3072934698" sldId="256"/>
            <ac:grpSpMk id="46" creationId="{B48B9297-3697-49E3-A3CD-07D0E1396164}"/>
          </ac:grpSpMkLst>
        </pc:grpChg>
        <pc:grpChg chg="mod topLvl">
          <ac:chgData name="Alex Pelaez" userId="cbc59824-fd90-4c3e-a66e-bac696fc3be6" providerId="ADAL" clId="{296FAF42-3D94-44F6-ACA6-45C1B525054F}" dt="2022-06-12T10:49:03.685" v="43" actId="164"/>
          <ac:grpSpMkLst>
            <pc:docMk/>
            <pc:sldMk cId="3072934698" sldId="256"/>
            <ac:grpSpMk id="47" creationId="{0591E219-26AE-4C24-A45F-20EC2A58D824}"/>
          </ac:grpSpMkLst>
        </pc:grpChg>
        <pc:grpChg chg="del mod ord topLvl">
          <ac:chgData name="Alex Pelaez" userId="cbc59824-fd90-4c3e-a66e-bac696fc3be6" providerId="ADAL" clId="{296FAF42-3D94-44F6-ACA6-45C1B525054F}" dt="2022-06-12T10:49:24.538" v="70" actId="478"/>
          <ac:grpSpMkLst>
            <pc:docMk/>
            <pc:sldMk cId="3072934698" sldId="256"/>
            <ac:grpSpMk id="48" creationId="{689DE2B5-519D-45E2-B2ED-34DF16479F8D}"/>
          </ac:grpSpMkLst>
        </pc:grpChg>
        <pc:grpChg chg="del mod ord topLvl">
          <ac:chgData name="Alex Pelaez" userId="cbc59824-fd90-4c3e-a66e-bac696fc3be6" providerId="ADAL" clId="{296FAF42-3D94-44F6-ACA6-45C1B525054F}" dt="2022-06-12T10:49:24.538" v="70" actId="478"/>
          <ac:grpSpMkLst>
            <pc:docMk/>
            <pc:sldMk cId="3072934698" sldId="256"/>
            <ac:grpSpMk id="51" creationId="{09B97A9E-26C9-48DF-A46B-C8B8603C951B}"/>
          </ac:grpSpMkLst>
        </pc:grpChg>
        <pc:grpChg chg="del mod ord topLvl">
          <ac:chgData name="Alex Pelaez" userId="cbc59824-fd90-4c3e-a66e-bac696fc3be6" providerId="ADAL" clId="{296FAF42-3D94-44F6-ACA6-45C1B525054F}" dt="2022-06-12T10:49:24.538" v="70" actId="478"/>
          <ac:grpSpMkLst>
            <pc:docMk/>
            <pc:sldMk cId="3072934698" sldId="256"/>
            <ac:grpSpMk id="54" creationId="{1F591D36-7696-49CF-80FF-FD2229715EEE}"/>
          </ac:grpSpMkLst>
        </pc:grpChg>
        <pc:grpChg chg="del mod topLvl">
          <ac:chgData name="Alex Pelaez" userId="cbc59824-fd90-4c3e-a66e-bac696fc3be6" providerId="ADAL" clId="{296FAF42-3D94-44F6-ACA6-45C1B525054F}" dt="2022-06-12T10:47:29.796" v="29" actId="165"/>
          <ac:grpSpMkLst>
            <pc:docMk/>
            <pc:sldMk cId="3072934698" sldId="256"/>
            <ac:grpSpMk id="59" creationId="{063FF0FB-B5E5-4E25-BC5F-AD1F554AD418}"/>
          </ac:grpSpMkLst>
        </pc:grpChg>
        <pc:grpChg chg="add del mod">
          <ac:chgData name="Alex Pelaez" userId="cbc59824-fd90-4c3e-a66e-bac696fc3be6" providerId="ADAL" clId="{296FAF42-3D94-44F6-ACA6-45C1B525054F}" dt="2022-06-12T10:47:23.845" v="28" actId="165"/>
          <ac:grpSpMkLst>
            <pc:docMk/>
            <pc:sldMk cId="3072934698" sldId="256"/>
            <ac:grpSpMk id="62" creationId="{469D06C5-2FFA-422F-A92C-324ACD4DDB17}"/>
          </ac:grpSpMkLst>
        </pc:grpChg>
        <pc:grpChg chg="add mod ord">
          <ac:chgData name="Alex Pelaez" userId="cbc59824-fd90-4c3e-a66e-bac696fc3be6" providerId="ADAL" clId="{296FAF42-3D94-44F6-ACA6-45C1B525054F}" dt="2022-06-12T10:49:51.243" v="73" actId="164"/>
          <ac:grpSpMkLst>
            <pc:docMk/>
            <pc:sldMk cId="3072934698" sldId="256"/>
            <ac:grpSpMk id="66" creationId="{ED208762-415D-49D0-B6B3-F13FC77F35C6}"/>
          </ac:grpSpMkLst>
        </pc:grpChg>
        <pc:grpChg chg="add mod ord">
          <ac:chgData name="Alex Pelaez" userId="cbc59824-fd90-4c3e-a66e-bac696fc3be6" providerId="ADAL" clId="{296FAF42-3D94-44F6-ACA6-45C1B525054F}" dt="2022-06-12T20:15:01.301" v="638"/>
          <ac:grpSpMkLst>
            <pc:docMk/>
            <pc:sldMk cId="3072934698" sldId="256"/>
            <ac:grpSpMk id="67" creationId="{D5487B16-6B59-4A04-A3F9-7989387821AC}"/>
          </ac:grpSpMkLst>
        </pc:grpChg>
        <pc:grpChg chg="add mod ord">
          <ac:chgData name="Alex Pelaez" userId="cbc59824-fd90-4c3e-a66e-bac696fc3be6" providerId="ADAL" clId="{296FAF42-3D94-44F6-ACA6-45C1B525054F}" dt="2022-06-12T20:15:01.303" v="640"/>
          <ac:grpSpMkLst>
            <pc:docMk/>
            <pc:sldMk cId="3072934698" sldId="256"/>
            <ac:grpSpMk id="68" creationId="{F558D66F-2CF6-46EA-A0FF-CA324FFF1494}"/>
          </ac:grpSpMkLst>
        </pc:grpChg>
        <pc:grpChg chg="mod">
          <ac:chgData name="Alex Pelaez" userId="cbc59824-fd90-4c3e-a66e-bac696fc3be6" providerId="ADAL" clId="{296FAF42-3D94-44F6-ACA6-45C1B525054F}" dt="2022-06-12T10:49:58.747" v="75"/>
          <ac:grpSpMkLst>
            <pc:docMk/>
            <pc:sldMk cId="3072934698" sldId="256"/>
            <ac:grpSpMk id="69" creationId="{B9F16917-50A7-4A3C-A489-206523DD01EE}"/>
          </ac:grpSpMkLst>
        </pc:grpChg>
        <pc:grpChg chg="mod">
          <ac:chgData name="Alex Pelaez" userId="cbc59824-fd90-4c3e-a66e-bac696fc3be6" providerId="ADAL" clId="{296FAF42-3D94-44F6-ACA6-45C1B525054F}" dt="2022-06-12T10:49:58.747" v="75"/>
          <ac:grpSpMkLst>
            <pc:docMk/>
            <pc:sldMk cId="3072934698" sldId="256"/>
            <ac:grpSpMk id="74" creationId="{D97785EF-AD80-4AFA-8DDD-7E3B6493BBC2}"/>
          </ac:grpSpMkLst>
        </pc:grpChg>
        <pc:grpChg chg="add mod ord">
          <ac:chgData name="Alex Pelaez" userId="cbc59824-fd90-4c3e-a66e-bac696fc3be6" providerId="ADAL" clId="{296FAF42-3D94-44F6-ACA6-45C1B525054F}" dt="2022-06-12T20:15:01.304" v="642"/>
          <ac:grpSpMkLst>
            <pc:docMk/>
            <pc:sldMk cId="3072934698" sldId="256"/>
            <ac:grpSpMk id="78" creationId="{4B070AEB-E5EB-4148-93F6-1E8BC002B9FE}"/>
          </ac:grpSpMkLst>
        </pc:grpChg>
        <pc:grpChg chg="mod">
          <ac:chgData name="Alex Pelaez" userId="cbc59824-fd90-4c3e-a66e-bac696fc3be6" providerId="ADAL" clId="{296FAF42-3D94-44F6-ACA6-45C1B525054F}" dt="2022-06-12T10:50:04.412" v="77"/>
          <ac:grpSpMkLst>
            <pc:docMk/>
            <pc:sldMk cId="3072934698" sldId="256"/>
            <ac:grpSpMk id="79" creationId="{874EEE82-6A7E-40E4-A83C-F2D24A32EFD9}"/>
          </ac:grpSpMkLst>
        </pc:grpChg>
        <pc:grpChg chg="mod">
          <ac:chgData name="Alex Pelaez" userId="cbc59824-fd90-4c3e-a66e-bac696fc3be6" providerId="ADAL" clId="{296FAF42-3D94-44F6-ACA6-45C1B525054F}" dt="2022-06-12T10:50:04.412" v="77"/>
          <ac:grpSpMkLst>
            <pc:docMk/>
            <pc:sldMk cId="3072934698" sldId="256"/>
            <ac:grpSpMk id="84" creationId="{9176B25A-7766-4B87-9EB8-840649F1D705}"/>
          </ac:grpSpMkLst>
        </pc:grpChg>
        <pc:grpChg chg="add mod ord">
          <ac:chgData name="Alex Pelaez" userId="cbc59824-fd90-4c3e-a66e-bac696fc3be6" providerId="ADAL" clId="{296FAF42-3D94-44F6-ACA6-45C1B525054F}" dt="2022-06-12T20:15:01.305" v="644"/>
          <ac:grpSpMkLst>
            <pc:docMk/>
            <pc:sldMk cId="3072934698" sldId="256"/>
            <ac:grpSpMk id="88" creationId="{31D921D3-3D0A-45DB-B12B-7D592540F533}"/>
          </ac:grpSpMkLst>
        </pc:grpChg>
        <pc:grpChg chg="mod">
          <ac:chgData name="Alex Pelaez" userId="cbc59824-fd90-4c3e-a66e-bac696fc3be6" providerId="ADAL" clId="{296FAF42-3D94-44F6-ACA6-45C1B525054F}" dt="2022-06-12T10:50:04.976" v="78"/>
          <ac:grpSpMkLst>
            <pc:docMk/>
            <pc:sldMk cId="3072934698" sldId="256"/>
            <ac:grpSpMk id="89" creationId="{3EC5E745-7D6B-43CF-ADB1-757D0CAE8F49}"/>
          </ac:grpSpMkLst>
        </pc:grpChg>
        <pc:grpChg chg="mod">
          <ac:chgData name="Alex Pelaez" userId="cbc59824-fd90-4c3e-a66e-bac696fc3be6" providerId="ADAL" clId="{296FAF42-3D94-44F6-ACA6-45C1B525054F}" dt="2022-06-12T10:50:04.976" v="78"/>
          <ac:grpSpMkLst>
            <pc:docMk/>
            <pc:sldMk cId="3072934698" sldId="256"/>
            <ac:grpSpMk id="94" creationId="{4042498F-A6D1-4F18-B62B-FD24AC84FBFA}"/>
          </ac:grpSpMkLst>
        </pc:grpChg>
        <pc:graphicFrameChg chg="mod">
          <ac:chgData name="Alex Pelaez" userId="cbc59824-fd90-4c3e-a66e-bac696fc3be6" providerId="ADAL" clId="{296FAF42-3D94-44F6-ACA6-45C1B525054F}" dt="2022-06-12T20:15:01.335" v="684"/>
          <ac:graphicFrameMkLst>
            <pc:docMk/>
            <pc:sldMk cId="3072934698" sldId="256"/>
            <ac:graphicFrameMk id="4" creationId="{6E4619EF-E9DC-413C-97FC-6F133352D19F}"/>
          </ac:graphicFrameMkLst>
        </pc:graphicFrameChg>
        <pc:picChg chg="mod topLvl">
          <ac:chgData name="Alex Pelaez" userId="cbc59824-fd90-4c3e-a66e-bac696fc3be6" providerId="ADAL" clId="{296FAF42-3D94-44F6-ACA6-45C1B525054F}" dt="2022-06-12T10:49:03.685" v="43" actId="164"/>
          <ac:picMkLst>
            <pc:docMk/>
            <pc:sldMk cId="3072934698" sldId="256"/>
            <ac:picMk id="9" creationId="{A8B73607-03D6-47EC-85BA-83320E9F7479}"/>
          </ac:picMkLst>
        </pc:picChg>
        <pc:picChg chg="mod topLvl">
          <ac:chgData name="Alex Pelaez" userId="cbc59824-fd90-4c3e-a66e-bac696fc3be6" providerId="ADAL" clId="{296FAF42-3D94-44F6-ACA6-45C1B525054F}" dt="2022-06-12T10:49:51.243" v="73" actId="164"/>
          <ac:picMkLst>
            <pc:docMk/>
            <pc:sldMk cId="3072934698" sldId="256"/>
            <ac:picMk id="16" creationId="{DEEAAA68-5E4F-4F95-B54E-B243F2970D7E}"/>
          </ac:picMkLst>
        </pc:picChg>
        <pc:picChg chg="mod topLvl">
          <ac:chgData name="Alex Pelaez" userId="cbc59824-fd90-4c3e-a66e-bac696fc3be6" providerId="ADAL" clId="{296FAF42-3D94-44F6-ACA6-45C1B525054F}" dt="2022-06-12T10:49:51.243" v="73" actId="164"/>
          <ac:picMkLst>
            <pc:docMk/>
            <pc:sldMk cId="3072934698" sldId="256"/>
            <ac:picMk id="17" creationId="{B2E01717-752F-4319-A51A-ACA3908CB039}"/>
          </ac:picMkLst>
        </pc:picChg>
        <pc:picChg chg="mod topLvl">
          <ac:chgData name="Alex Pelaez" userId="cbc59824-fd90-4c3e-a66e-bac696fc3be6" providerId="ADAL" clId="{296FAF42-3D94-44F6-ACA6-45C1B525054F}" dt="2022-06-12T10:49:51.243" v="73" actId="164"/>
          <ac:picMkLst>
            <pc:docMk/>
            <pc:sldMk cId="3072934698" sldId="256"/>
            <ac:picMk id="18" creationId="{90FE5371-0646-4DD9-841A-0683A22E82FF}"/>
          </ac:picMkLst>
        </pc:picChg>
        <pc:picChg chg="del mod ord topLvl">
          <ac:chgData name="Alex Pelaez" userId="cbc59824-fd90-4c3e-a66e-bac696fc3be6" providerId="ADAL" clId="{296FAF42-3D94-44F6-ACA6-45C1B525054F}" dt="2022-06-12T10:49:24.538" v="70" actId="478"/>
          <ac:picMkLst>
            <pc:docMk/>
            <pc:sldMk cId="3072934698" sldId="256"/>
            <ac:picMk id="27" creationId="{EFF59917-DAAF-4496-A49A-ED12E674AE9F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28" creationId="{C117F489-3303-4C77-BE60-3E22C0133B6A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29" creationId="{23E49E55-644D-44A9-96B0-087E556292C8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0" creationId="{AE062A02-0BAD-485C-B210-14B45D3B6C4B}"/>
          </ac:picMkLst>
        </pc:picChg>
        <pc:picChg chg="del mod ord topLvl">
          <ac:chgData name="Alex Pelaez" userId="cbc59824-fd90-4c3e-a66e-bac696fc3be6" providerId="ADAL" clId="{296FAF42-3D94-44F6-ACA6-45C1B525054F}" dt="2022-06-12T10:49:24.538" v="70" actId="478"/>
          <ac:picMkLst>
            <pc:docMk/>
            <pc:sldMk cId="3072934698" sldId="256"/>
            <ac:picMk id="32" creationId="{7312EE6A-5C88-4755-8046-00E8ECE9E7DA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3" creationId="{2B6823A9-3B54-41DD-B898-1434D73AD146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4" creationId="{E9DDD9CC-EBA2-47FD-A1E4-4D14E8E76D30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5" creationId="{0BC46B41-56D8-426E-B7AE-A3EB7C4344EA}"/>
          </ac:picMkLst>
        </pc:picChg>
        <pc:picChg chg="del mod ord topLvl">
          <ac:chgData name="Alex Pelaez" userId="cbc59824-fd90-4c3e-a66e-bac696fc3be6" providerId="ADAL" clId="{296FAF42-3D94-44F6-ACA6-45C1B525054F}" dt="2022-06-12T10:49:24.538" v="70" actId="478"/>
          <ac:picMkLst>
            <pc:docMk/>
            <pc:sldMk cId="3072934698" sldId="256"/>
            <ac:picMk id="37" creationId="{9C732BB0-7E1C-4127-B042-291B96723226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8" creationId="{A9BB4D4C-6AD8-4ADB-9895-B5191C54D612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39" creationId="{69605F2E-230A-4CB3-81B3-46E3CA503A7D}"/>
          </ac:picMkLst>
        </pc:picChg>
        <pc:picChg chg="del mod topLvl">
          <ac:chgData name="Alex Pelaez" userId="cbc59824-fd90-4c3e-a66e-bac696fc3be6" providerId="ADAL" clId="{296FAF42-3D94-44F6-ACA6-45C1B525054F}" dt="2022-06-12T10:49:39.719" v="72" actId="478"/>
          <ac:picMkLst>
            <pc:docMk/>
            <pc:sldMk cId="3072934698" sldId="256"/>
            <ac:picMk id="40" creationId="{308F906A-EA59-4D88-AE31-EB580851AB40}"/>
          </ac:picMkLst>
        </pc:picChg>
        <pc:picChg chg="mod ord topLvl">
          <ac:chgData name="Alex Pelaez" userId="cbc59824-fd90-4c3e-a66e-bac696fc3be6" providerId="ADAL" clId="{296FAF42-3D94-44F6-ACA6-45C1B525054F}" dt="2022-06-12T20:15:16.422" v="685" actId="1076"/>
          <ac:picMkLst>
            <pc:docMk/>
            <pc:sldMk cId="3072934698" sldId="256"/>
            <ac:picMk id="58" creationId="{A79FAFAF-344F-45F0-84B8-76B7D4FA908B}"/>
          </ac:picMkLst>
        </pc:picChg>
        <pc:picChg chg="mod">
          <ac:chgData name="Alex Pelaez" userId="cbc59824-fd90-4c3e-a66e-bac696fc3be6" providerId="ADAL" clId="{296FAF42-3D94-44F6-ACA6-45C1B525054F}" dt="2022-06-12T10:49:58.747" v="75"/>
          <ac:picMkLst>
            <pc:docMk/>
            <pc:sldMk cId="3072934698" sldId="256"/>
            <ac:picMk id="70" creationId="{0761FB1B-CE70-4F4A-8F8E-B62B8DB2C96A}"/>
          </ac:picMkLst>
        </pc:picChg>
        <pc:picChg chg="mod">
          <ac:chgData name="Alex Pelaez" userId="cbc59824-fd90-4c3e-a66e-bac696fc3be6" providerId="ADAL" clId="{296FAF42-3D94-44F6-ACA6-45C1B525054F}" dt="2022-06-12T10:49:58.747" v="75"/>
          <ac:picMkLst>
            <pc:docMk/>
            <pc:sldMk cId="3072934698" sldId="256"/>
            <ac:picMk id="71" creationId="{19841230-AB8B-4DE2-BF16-B0AADE12F457}"/>
          </ac:picMkLst>
        </pc:picChg>
        <pc:picChg chg="mod">
          <ac:chgData name="Alex Pelaez" userId="cbc59824-fd90-4c3e-a66e-bac696fc3be6" providerId="ADAL" clId="{296FAF42-3D94-44F6-ACA6-45C1B525054F}" dt="2022-06-12T10:49:58.747" v="75"/>
          <ac:picMkLst>
            <pc:docMk/>
            <pc:sldMk cId="3072934698" sldId="256"/>
            <ac:picMk id="72" creationId="{0AB10A7C-3315-4A14-91BA-635889D21717}"/>
          </ac:picMkLst>
        </pc:picChg>
        <pc:picChg chg="mod">
          <ac:chgData name="Alex Pelaez" userId="cbc59824-fd90-4c3e-a66e-bac696fc3be6" providerId="ADAL" clId="{296FAF42-3D94-44F6-ACA6-45C1B525054F}" dt="2022-06-12T10:49:58.747" v="75"/>
          <ac:picMkLst>
            <pc:docMk/>
            <pc:sldMk cId="3072934698" sldId="256"/>
            <ac:picMk id="73" creationId="{E95A00B7-D937-4812-A81C-F5046F753BD0}"/>
          </ac:picMkLst>
        </pc:picChg>
        <pc:picChg chg="mod">
          <ac:chgData name="Alex Pelaez" userId="cbc59824-fd90-4c3e-a66e-bac696fc3be6" providerId="ADAL" clId="{296FAF42-3D94-44F6-ACA6-45C1B525054F}" dt="2022-06-12T10:50:04.412" v="77"/>
          <ac:picMkLst>
            <pc:docMk/>
            <pc:sldMk cId="3072934698" sldId="256"/>
            <ac:picMk id="80" creationId="{EA469CF0-A6CE-4938-947B-640571676998}"/>
          </ac:picMkLst>
        </pc:picChg>
        <pc:picChg chg="mod">
          <ac:chgData name="Alex Pelaez" userId="cbc59824-fd90-4c3e-a66e-bac696fc3be6" providerId="ADAL" clId="{296FAF42-3D94-44F6-ACA6-45C1B525054F}" dt="2022-06-12T10:50:04.412" v="77"/>
          <ac:picMkLst>
            <pc:docMk/>
            <pc:sldMk cId="3072934698" sldId="256"/>
            <ac:picMk id="81" creationId="{012BF918-B425-406B-A368-A31D14214F72}"/>
          </ac:picMkLst>
        </pc:picChg>
        <pc:picChg chg="mod">
          <ac:chgData name="Alex Pelaez" userId="cbc59824-fd90-4c3e-a66e-bac696fc3be6" providerId="ADAL" clId="{296FAF42-3D94-44F6-ACA6-45C1B525054F}" dt="2022-06-12T10:50:04.412" v="77"/>
          <ac:picMkLst>
            <pc:docMk/>
            <pc:sldMk cId="3072934698" sldId="256"/>
            <ac:picMk id="82" creationId="{C30AECB0-09C9-4586-B13C-46A88D17F49C}"/>
          </ac:picMkLst>
        </pc:picChg>
        <pc:picChg chg="mod">
          <ac:chgData name="Alex Pelaez" userId="cbc59824-fd90-4c3e-a66e-bac696fc3be6" providerId="ADAL" clId="{296FAF42-3D94-44F6-ACA6-45C1B525054F}" dt="2022-06-12T10:50:04.412" v="77"/>
          <ac:picMkLst>
            <pc:docMk/>
            <pc:sldMk cId="3072934698" sldId="256"/>
            <ac:picMk id="83" creationId="{4469702B-9740-4367-A78B-111BE684D42D}"/>
          </ac:picMkLst>
        </pc:picChg>
        <pc:picChg chg="mod">
          <ac:chgData name="Alex Pelaez" userId="cbc59824-fd90-4c3e-a66e-bac696fc3be6" providerId="ADAL" clId="{296FAF42-3D94-44F6-ACA6-45C1B525054F}" dt="2022-06-12T10:50:04.976" v="78"/>
          <ac:picMkLst>
            <pc:docMk/>
            <pc:sldMk cId="3072934698" sldId="256"/>
            <ac:picMk id="90" creationId="{7624DA0E-89E3-481B-A761-7E92A94DB4C9}"/>
          </ac:picMkLst>
        </pc:picChg>
        <pc:picChg chg="mod">
          <ac:chgData name="Alex Pelaez" userId="cbc59824-fd90-4c3e-a66e-bac696fc3be6" providerId="ADAL" clId="{296FAF42-3D94-44F6-ACA6-45C1B525054F}" dt="2022-06-12T10:50:04.976" v="78"/>
          <ac:picMkLst>
            <pc:docMk/>
            <pc:sldMk cId="3072934698" sldId="256"/>
            <ac:picMk id="91" creationId="{09A35BD3-5701-4996-9BF2-CA76E10E0EED}"/>
          </ac:picMkLst>
        </pc:picChg>
        <pc:picChg chg="mod">
          <ac:chgData name="Alex Pelaez" userId="cbc59824-fd90-4c3e-a66e-bac696fc3be6" providerId="ADAL" clId="{296FAF42-3D94-44F6-ACA6-45C1B525054F}" dt="2022-06-12T10:50:04.976" v="78"/>
          <ac:picMkLst>
            <pc:docMk/>
            <pc:sldMk cId="3072934698" sldId="256"/>
            <ac:picMk id="92" creationId="{1733AD99-95FB-4048-B082-2632191CB923}"/>
          </ac:picMkLst>
        </pc:picChg>
        <pc:picChg chg="mod">
          <ac:chgData name="Alex Pelaez" userId="cbc59824-fd90-4c3e-a66e-bac696fc3be6" providerId="ADAL" clId="{296FAF42-3D94-44F6-ACA6-45C1B525054F}" dt="2022-06-12T10:50:04.976" v="78"/>
          <ac:picMkLst>
            <pc:docMk/>
            <pc:sldMk cId="3072934698" sldId="256"/>
            <ac:picMk id="93" creationId="{64AF559F-FAF0-48CC-B934-9761E7965530}"/>
          </ac:picMkLst>
        </pc:picChg>
        <pc:cxnChg chg="add del mod ord">
          <ac:chgData name="Alex Pelaez" userId="cbc59824-fd90-4c3e-a66e-bac696fc3be6" providerId="ADAL" clId="{296FAF42-3D94-44F6-ACA6-45C1B525054F}" dt="2022-06-12T20:15:01.308" v="654"/>
          <ac:cxnSpMkLst>
            <pc:docMk/>
            <pc:sldMk cId="3072934698" sldId="256"/>
            <ac:cxnSpMk id="104" creationId="{383EE2DB-743B-423E-BE4F-28CF7C5F52FC}"/>
          </ac:cxnSpMkLst>
        </pc:cxnChg>
        <pc:cxnChg chg="add del mod ord">
          <ac:chgData name="Alex Pelaez" userId="cbc59824-fd90-4c3e-a66e-bac696fc3be6" providerId="ADAL" clId="{296FAF42-3D94-44F6-ACA6-45C1B525054F}" dt="2022-06-12T20:15:01.308" v="656"/>
          <ac:cxnSpMkLst>
            <pc:docMk/>
            <pc:sldMk cId="3072934698" sldId="256"/>
            <ac:cxnSpMk id="105" creationId="{D96A11D7-9BF4-449F-9A5F-BE4F92BCD1A9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4396C-D1D9-443A-B385-C31615AA0C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B81F16-9AE2-4575-A207-3696616CFA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75C6FD-3AE7-4CE9-A4D8-B9822AA31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058527-5883-4628-96A7-063E40A30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6416-6AA2-4117-A640-8978D1AAF4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574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21C07-D2E3-4270-979B-B31DEF0C9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EFAFD1-3A51-4322-B4B0-D3ABDE66C5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761A1A-4291-4A31-BAF7-0B1A513376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686A6-AA65-4222-A7CB-A637F4B38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24C00-6E42-4FAF-8BBB-A11BEC52A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41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A1EBE-E01E-4766-BB27-567179759F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07D44F-DF45-449F-82F8-B098003DFD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EEF2F8-6047-4EC5-8EA3-C06B5685B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F5A12C-DA7B-46F6-BAC3-C0E13BFE2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2C7C36-CC64-4707-A357-94117F77D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407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788BF-D13B-4C40-915E-A0C684C54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22946-37F6-45E5-A201-7FDF48E1E0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8C39A-34B7-44F9-A093-BB7C00426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717563-D9C9-4BFC-B23F-DED805659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805BA-82EF-4908-A710-63E9132E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4227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DA1CA-3264-47F8-AAAE-E1608B5A4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254299-93EF-40EE-BE5F-69B3474C53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B6C38-A4A5-4815-A242-D4F82E47B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9B5987-4680-4829-9A78-ACA813F75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0D1D06-2EB6-43E4-8A2B-970D8A512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912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C16DC-D43D-480A-845A-51D75B66D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38C7D-D54B-48EF-8873-2959F9F35B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FABB9B-E0CB-4576-BE42-DFCA207232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72708D-82B9-450F-A52D-6FB3317D4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C20AAD-563C-4B4C-8EF9-45430B117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93F974-A762-4087-B6EF-104B50143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202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CDD0E-1585-4433-A8C5-3A4A2958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377805-BFCA-4A88-BD9C-E202896121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AD4B39-3D3B-41DA-A522-886C2CBBED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D443B2-29C1-4F05-9752-9A9216AB42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ED0327F-696C-4528-8872-666F51BFDA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06E47D-2D57-41F8-B6C4-6D8A5963A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F00C3F-E20D-4375-83EB-1C727929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4373BA-32B1-4D02-B33F-11E5BD57A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768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A10E1-E8D8-46B1-AF90-48DB9682F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3ED1DD-A8BA-4BB5-97FA-16A9A9520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7025EB-BA85-466C-A190-5FCCF665C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022CB5-A964-4300-AE99-665A02424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009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3036D8-3DD8-4FAF-A674-210707E5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48FA2E-B715-41F3-83D7-FFC6607D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EE9EC5-71B9-407D-9A39-F683605AC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452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7D7D8-A982-44D5-B0A3-2DB770328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DFFE33-B5D8-4F4A-B486-D27B8948A3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658CA6-CDD1-4C01-90F8-09154EA777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DCEBD0-F5E4-43E0-9466-9AA21763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A6E426-5035-4FEE-A92B-08B1D81DB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FA09D6-3799-402C-B356-EDE6DE2AD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929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689C2-929F-42DB-B8A9-89B8BF4BB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75783F-6DBE-472E-8720-0836D37021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8FC6E9-751C-449C-83F4-B54094585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8CB4BD-DE28-49CC-BC6F-3F04E953C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9057C-CF69-41B9-8ACE-6C5EAF3EB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AC76C8-84EF-4BF2-AF49-614022D48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5883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38CC31-8257-4030-B169-99B85A139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7148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4" imgH="385" progId="TCLayout.ActiveDocument.1">
                  <p:embed/>
                </p:oleObj>
              </mc:Choice>
              <mc:Fallback>
                <p:oleObj name="think-cell Slide" r:id="rId1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38CC31-8257-4030-B169-99B85A139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99ECCB-F7FF-4429-A5BC-4EDE0D2E2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3FE668-F64D-4306-A87F-425DE2A0FA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EE8CC9-AF8E-4505-834E-C2421626F2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7D3CE0-F7D1-410E-8F8B-8A9C7C44AFBC}" type="datetimeFigureOut">
              <a:rPr lang="en-GB" smtClean="0"/>
              <a:t>12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57965-B395-4582-9A4E-6B6114C7A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638BE0-15B0-43E7-9C07-C9F0BE2D2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FECD0B-8901-42B3-B032-428994C14A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017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4619EF-E9DC-413C-97FC-6F133352D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0165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4619EF-E9DC-413C-97FC-6F133352D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7" name="Group 66">
            <a:extLst>
              <a:ext uri="{FF2B5EF4-FFF2-40B4-BE49-F238E27FC236}">
                <a16:creationId xmlns:a16="http://schemas.microsoft.com/office/drawing/2014/main" id="{D5487B16-6B59-4A04-A3F9-7989387821AC}"/>
              </a:ext>
            </a:extLst>
          </p:cNvPr>
          <p:cNvGrpSpPr/>
          <p:nvPr/>
        </p:nvGrpSpPr>
        <p:grpSpPr>
          <a:xfrm>
            <a:off x="1082534" y="420914"/>
            <a:ext cx="1695657" cy="3917586"/>
            <a:chOff x="4798191" y="682171"/>
            <a:chExt cx="1695657" cy="3917586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D208762-415D-49D0-B6B3-F13FC77F35C6}"/>
                </a:ext>
              </a:extLst>
            </p:cNvPr>
            <p:cNvGrpSpPr/>
            <p:nvPr/>
          </p:nvGrpSpPr>
          <p:grpSpPr>
            <a:xfrm>
              <a:off x="4798191" y="682171"/>
              <a:ext cx="1695657" cy="3917586"/>
              <a:chOff x="4798191" y="682171"/>
              <a:chExt cx="1695657" cy="3917586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A8B73607-03D6-47EC-85BA-83320E9F74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591E219-26AE-4C24-A45F-20EC2A58D824}"/>
                  </a:ext>
                </a:extLst>
              </p:cNvPr>
              <p:cNvGrpSpPr/>
              <p:nvPr/>
            </p:nvGrpSpPr>
            <p:grpSpPr>
              <a:xfrm>
                <a:off x="5220233" y="2628475"/>
                <a:ext cx="850532" cy="334804"/>
                <a:chOff x="1588292" y="3046686"/>
                <a:chExt cx="1165389" cy="458744"/>
              </a:xfrm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40A62A94-99C4-4DFF-B5A3-D03B6E69FC2C}"/>
                    </a:ext>
                  </a:extLst>
                </p:cNvPr>
                <p:cNvSpPr/>
                <p:nvPr/>
              </p:nvSpPr>
              <p:spPr>
                <a:xfrm>
                  <a:off x="1588292" y="3046686"/>
                  <a:ext cx="1165389" cy="458739"/>
                </a:xfrm>
                <a:prstGeom prst="rect">
                  <a:avLst/>
                </a:prstGeom>
                <a:solidFill>
                  <a:srgbClr val="FF00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39A5CAFF-1BCE-47EE-B7A6-2937909FBCC8}"/>
                    </a:ext>
                  </a:extLst>
                </p:cNvPr>
                <p:cNvSpPr/>
                <p:nvPr/>
              </p:nvSpPr>
              <p:spPr>
                <a:xfrm>
                  <a:off x="1588292" y="3046691"/>
                  <a:ext cx="803440" cy="458739"/>
                </a:xfrm>
                <a:prstGeom prst="rect">
                  <a:avLst/>
                </a:prstGeom>
                <a:solidFill>
                  <a:srgbClr val="FF7C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8D9EE6EE-FE14-42ED-B3E4-01726BF15EEC}"/>
                  </a:ext>
                </a:extLst>
              </p:cNvPr>
              <p:cNvSpPr txBox="1"/>
              <p:nvPr/>
            </p:nvSpPr>
            <p:spPr>
              <a:xfrm>
                <a:off x="4798191" y="4014982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9.4%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EEAAA68-5E4F-4F95-B54E-B243F2970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2E01717-752F-4319-A51A-ACA3908CB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0FE5371-0646-4DD9-841A-0683A22E8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558D66F-2CF6-46EA-A0FF-CA324FFF1494}"/>
              </a:ext>
            </a:extLst>
          </p:cNvPr>
          <p:cNvGrpSpPr/>
          <p:nvPr/>
        </p:nvGrpSpPr>
        <p:grpSpPr>
          <a:xfrm>
            <a:off x="9446415" y="420914"/>
            <a:ext cx="1695657" cy="5011162"/>
            <a:chOff x="4830797" y="682171"/>
            <a:chExt cx="1695657" cy="5011162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B9F16917-50A7-4A3C-A489-206523DD01EE}"/>
                </a:ext>
              </a:extLst>
            </p:cNvPr>
            <p:cNvGrpSpPr/>
            <p:nvPr/>
          </p:nvGrpSpPr>
          <p:grpSpPr>
            <a:xfrm>
              <a:off x="4830797" y="682171"/>
              <a:ext cx="1695657" cy="5011162"/>
              <a:chOff x="4830797" y="682171"/>
              <a:chExt cx="1695657" cy="5011162"/>
            </a:xfrm>
          </p:grpSpPr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id="{E95A00B7-D937-4812-A81C-F5046F753B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D97785EF-AD80-4AFA-8DDD-7E3B6493BBC2}"/>
                  </a:ext>
                </a:extLst>
              </p:cNvPr>
              <p:cNvGrpSpPr/>
              <p:nvPr/>
            </p:nvGrpSpPr>
            <p:grpSpPr>
              <a:xfrm>
                <a:off x="5221273" y="1930366"/>
                <a:ext cx="850532" cy="1040403"/>
                <a:chOff x="1589716" y="2090146"/>
                <a:chExt cx="1165389" cy="1425546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1124C4EA-5A77-4320-9400-0C2C9640149E}"/>
                    </a:ext>
                  </a:extLst>
                </p:cNvPr>
                <p:cNvSpPr/>
                <p:nvPr/>
              </p:nvSpPr>
              <p:spPr>
                <a:xfrm>
                  <a:off x="1589716" y="2090146"/>
                  <a:ext cx="1165389" cy="1425542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7AFE12A9-0982-4DCE-B4E1-946DC5175041}"/>
                    </a:ext>
                  </a:extLst>
                </p:cNvPr>
                <p:cNvSpPr/>
                <p:nvPr/>
              </p:nvSpPr>
              <p:spPr>
                <a:xfrm>
                  <a:off x="1589717" y="2090150"/>
                  <a:ext cx="803440" cy="1425542"/>
                </a:xfrm>
                <a:prstGeom prst="rect">
                  <a:avLst/>
                </a:pr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2BB37E2-115E-40EC-AA62-F9D2DD545436}"/>
                  </a:ext>
                </a:extLst>
              </p:cNvPr>
              <p:cNvSpPr txBox="1"/>
              <p:nvPr/>
            </p:nvSpPr>
            <p:spPr>
              <a:xfrm>
                <a:off x="4830797" y="5108558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1.3%</a:t>
                </a:r>
              </a:p>
            </p:txBody>
          </p:sp>
        </p:grp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0761FB1B-CE70-4F4A-8F8E-B62B8DB2C9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19841230-AB8B-4DE2-BF16-B0AADE12F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0AB10A7C-3315-4A14-91BA-635889D21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B070AEB-E5EB-4148-93F6-1E8BC002B9FE}"/>
              </a:ext>
            </a:extLst>
          </p:cNvPr>
          <p:cNvGrpSpPr/>
          <p:nvPr/>
        </p:nvGrpSpPr>
        <p:grpSpPr>
          <a:xfrm>
            <a:off x="6664053" y="420914"/>
            <a:ext cx="1695657" cy="4754629"/>
            <a:chOff x="4825526" y="682171"/>
            <a:chExt cx="1695657" cy="4754629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74EEE82-6A7E-40E4-A83C-F2D24A32EFD9}"/>
                </a:ext>
              </a:extLst>
            </p:cNvPr>
            <p:cNvGrpSpPr/>
            <p:nvPr/>
          </p:nvGrpSpPr>
          <p:grpSpPr>
            <a:xfrm>
              <a:off x="4825526" y="682171"/>
              <a:ext cx="1695657" cy="4754629"/>
              <a:chOff x="4825526" y="682171"/>
              <a:chExt cx="1695657" cy="4754629"/>
            </a:xfrm>
          </p:grpSpPr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4469702B-9740-4367-A78B-111BE684D4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9176B25A-7766-4B87-9EB8-840649F1D705}"/>
                  </a:ext>
                </a:extLst>
              </p:cNvPr>
              <p:cNvGrpSpPr/>
              <p:nvPr/>
            </p:nvGrpSpPr>
            <p:grpSpPr>
              <a:xfrm>
                <a:off x="5229986" y="2151490"/>
                <a:ext cx="850532" cy="806401"/>
                <a:chOff x="1601655" y="2393128"/>
                <a:chExt cx="1165389" cy="1104920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AB18BAB-0C51-4115-9C72-0B5D81F9C027}"/>
                    </a:ext>
                  </a:extLst>
                </p:cNvPr>
                <p:cNvSpPr/>
                <p:nvPr/>
              </p:nvSpPr>
              <p:spPr>
                <a:xfrm>
                  <a:off x="1601655" y="2393128"/>
                  <a:ext cx="1165389" cy="1104919"/>
                </a:xfrm>
                <a:prstGeom prst="rect">
                  <a:avLst/>
                </a:prstGeom>
                <a:solidFill>
                  <a:srgbClr val="CC99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77E7D51F-62A6-4DFE-818D-AB17491A70FB}"/>
                    </a:ext>
                  </a:extLst>
                </p:cNvPr>
                <p:cNvSpPr/>
                <p:nvPr/>
              </p:nvSpPr>
              <p:spPr>
                <a:xfrm>
                  <a:off x="1601658" y="2393128"/>
                  <a:ext cx="803440" cy="1104920"/>
                </a:xfrm>
                <a:prstGeom prst="rect">
                  <a:avLst/>
                </a:prstGeom>
                <a:solidFill>
                  <a:srgbClr val="FF99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34C7E7F-E823-462A-AEBC-8384B326B8DE}"/>
                  </a:ext>
                </a:extLst>
              </p:cNvPr>
              <p:cNvSpPr txBox="1"/>
              <p:nvPr/>
            </p:nvSpPr>
            <p:spPr>
              <a:xfrm>
                <a:off x="4825526" y="4852025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3.3%</a:t>
                </a:r>
              </a:p>
            </p:txBody>
          </p:sp>
        </p:grp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EA469CF0-A6CE-4938-947B-640571676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012BF918-B425-406B-A368-A31D14214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C30AECB0-09C9-4586-B13C-46A88D17F4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1D921D3-3D0A-45DB-B12B-7D592540F533}"/>
              </a:ext>
            </a:extLst>
          </p:cNvPr>
          <p:cNvGrpSpPr/>
          <p:nvPr/>
        </p:nvGrpSpPr>
        <p:grpSpPr>
          <a:xfrm>
            <a:off x="3881691" y="420914"/>
            <a:ext cx="1695657" cy="4728408"/>
            <a:chOff x="4820256" y="682171"/>
            <a:chExt cx="1695657" cy="4728408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3EC5E745-7D6B-43CF-ADB1-757D0CAE8F49}"/>
                </a:ext>
              </a:extLst>
            </p:cNvPr>
            <p:cNvGrpSpPr/>
            <p:nvPr/>
          </p:nvGrpSpPr>
          <p:grpSpPr>
            <a:xfrm>
              <a:off x="4820256" y="682171"/>
              <a:ext cx="1695657" cy="4728408"/>
              <a:chOff x="4820256" y="682171"/>
              <a:chExt cx="1695657" cy="4728408"/>
            </a:xfrm>
          </p:grpSpPr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64AF559F-FAF0-48CC-B934-9761E79655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4042498F-A6D1-4F18-B62B-FD24AC84FBFA}"/>
                  </a:ext>
                </a:extLst>
              </p:cNvPr>
              <p:cNvGrpSpPr/>
              <p:nvPr/>
            </p:nvGrpSpPr>
            <p:grpSpPr>
              <a:xfrm>
                <a:off x="5215815" y="2333274"/>
                <a:ext cx="859959" cy="630002"/>
                <a:chOff x="1582238" y="2642204"/>
                <a:chExt cx="1178306" cy="863220"/>
              </a:xfrm>
            </p:grpSpPr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89C5B378-B9D2-423A-862B-389B1726B63D}"/>
                    </a:ext>
                  </a:extLst>
                </p:cNvPr>
                <p:cNvSpPr/>
                <p:nvPr/>
              </p:nvSpPr>
              <p:spPr>
                <a:xfrm>
                  <a:off x="1595155" y="2642204"/>
                  <a:ext cx="1165389" cy="863217"/>
                </a:xfrm>
                <a:prstGeom prst="rect">
                  <a:avLst/>
                </a:prstGeom>
                <a:solidFill>
                  <a:srgbClr val="800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5B9EE71E-BD14-406E-B7B3-66F91C967A25}"/>
                    </a:ext>
                  </a:extLst>
                </p:cNvPr>
                <p:cNvSpPr/>
                <p:nvPr/>
              </p:nvSpPr>
              <p:spPr>
                <a:xfrm>
                  <a:off x="1582238" y="2642205"/>
                  <a:ext cx="803440" cy="863219"/>
                </a:xfrm>
                <a:prstGeom prst="rect">
                  <a:avLst/>
                </a:prstGeom>
                <a:solidFill>
                  <a:srgbClr val="CC00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E9D5CFB-7D1C-4A13-8C7C-593EC6DDF3B7}"/>
                  </a:ext>
                </a:extLst>
              </p:cNvPr>
              <p:cNvSpPr txBox="1"/>
              <p:nvPr/>
            </p:nvSpPr>
            <p:spPr>
              <a:xfrm>
                <a:off x="4820256" y="4825804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3.4%</a:t>
                </a:r>
              </a:p>
            </p:txBody>
          </p:sp>
        </p:grp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624DA0E-89E3-481B-A761-7E92A94DB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09A35BD3-5701-4996-9BF2-CA76E10E0E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1733AD99-95FB-4048-B082-2632191CB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319C0CE-D873-44A2-86C1-4F7CF216D23C}"/>
              </a:ext>
            </a:extLst>
          </p:cNvPr>
          <p:cNvSpPr txBox="1"/>
          <p:nvPr/>
        </p:nvSpPr>
        <p:spPr>
          <a:xfrm>
            <a:off x="1390499" y="1974585"/>
            <a:ext cx="10183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24%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BB14C09A-16BC-49A5-95FE-B62875F788BD}"/>
              </a:ext>
            </a:extLst>
          </p:cNvPr>
          <p:cNvSpPr txBox="1"/>
          <p:nvPr/>
        </p:nvSpPr>
        <p:spPr>
          <a:xfrm>
            <a:off x="4164452" y="1708678"/>
            <a:ext cx="1045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45%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9998BA4-BC58-4BCF-918F-11C8012B1DBE}"/>
              </a:ext>
            </a:extLst>
          </p:cNvPr>
          <p:cNvSpPr txBox="1"/>
          <p:nvPr/>
        </p:nvSpPr>
        <p:spPr>
          <a:xfrm>
            <a:off x="6950777" y="1531262"/>
            <a:ext cx="1050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53%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F1C7F73-15C5-48BC-9CC0-C33EA3AEA977}"/>
              </a:ext>
            </a:extLst>
          </p:cNvPr>
          <p:cNvSpPr txBox="1"/>
          <p:nvPr/>
        </p:nvSpPr>
        <p:spPr>
          <a:xfrm>
            <a:off x="9718635" y="1274555"/>
            <a:ext cx="10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75%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83EE2DB-743B-423E-BE4F-28CF7C5F52FC}"/>
              </a:ext>
            </a:extLst>
          </p:cNvPr>
          <p:cNvCxnSpPr>
            <a:cxnSpLocks/>
          </p:cNvCxnSpPr>
          <p:nvPr/>
        </p:nvCxnSpPr>
        <p:spPr>
          <a:xfrm>
            <a:off x="1008668" y="5580668"/>
            <a:ext cx="10397765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6B957666-669E-4E18-B095-DB2E1608C527}"/>
              </a:ext>
            </a:extLst>
          </p:cNvPr>
          <p:cNvSpPr txBox="1"/>
          <p:nvPr/>
        </p:nvSpPr>
        <p:spPr>
          <a:xfrm>
            <a:off x="1082534" y="5714230"/>
            <a:ext cx="1695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FF0066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ca-ES"/>
              <a:t>Renda Baixa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5B11BAC-BEF4-4027-9C41-B51CD7C5E534}"/>
              </a:ext>
            </a:extLst>
          </p:cNvPr>
          <p:cNvSpPr txBox="1"/>
          <p:nvPr/>
        </p:nvSpPr>
        <p:spPr>
          <a:xfrm>
            <a:off x="3859625" y="5714230"/>
            <a:ext cx="1695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2400">
                <a:solidFill>
                  <a:srgbClr val="FF0066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ca-ES" sz="1800">
                <a:solidFill>
                  <a:srgbClr val="800080"/>
                </a:solidFill>
              </a:rPr>
              <a:t>Renda Mitja Baixa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9F6DB27-BC4D-47AE-AF0F-D20817054D7A}"/>
              </a:ext>
            </a:extLst>
          </p:cNvPr>
          <p:cNvSpPr txBox="1"/>
          <p:nvPr/>
        </p:nvSpPr>
        <p:spPr>
          <a:xfrm>
            <a:off x="6636716" y="5714230"/>
            <a:ext cx="1695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800080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ca-ES">
                <a:solidFill>
                  <a:srgbClr val="CC9900"/>
                </a:solidFill>
              </a:rPr>
              <a:t>Renda Mitja Alta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78EDBC4-84B4-481F-9875-BA9696888C25}"/>
              </a:ext>
            </a:extLst>
          </p:cNvPr>
          <p:cNvSpPr txBox="1"/>
          <p:nvPr/>
        </p:nvSpPr>
        <p:spPr>
          <a:xfrm>
            <a:off x="9413807" y="5714230"/>
            <a:ext cx="1695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800080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ca-ES">
                <a:solidFill>
                  <a:srgbClr val="00B050"/>
                </a:solidFill>
              </a:rPr>
              <a:t>Renda Alta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F8B30E9-4745-4427-9794-1C1A534816BB}"/>
              </a:ext>
            </a:extLst>
          </p:cNvPr>
          <p:cNvSpPr/>
          <p:nvPr/>
        </p:nvSpPr>
        <p:spPr>
          <a:xfrm>
            <a:off x="1503731" y="4247976"/>
            <a:ext cx="850532" cy="1303690"/>
          </a:xfrm>
          <a:prstGeom prst="rect">
            <a:avLst/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726F62C-8405-46B2-A1E8-0E3377C5131E}"/>
              </a:ext>
            </a:extLst>
          </p:cNvPr>
          <p:cNvSpPr/>
          <p:nvPr/>
        </p:nvSpPr>
        <p:spPr>
          <a:xfrm>
            <a:off x="1503731" y="4247980"/>
            <a:ext cx="586372" cy="1303690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577A276-17F8-4CA2-A019-900C6FB1CD44}"/>
              </a:ext>
            </a:extLst>
          </p:cNvPr>
          <p:cNvSpPr/>
          <p:nvPr/>
        </p:nvSpPr>
        <p:spPr>
          <a:xfrm>
            <a:off x="9836890" y="5361710"/>
            <a:ext cx="850532" cy="1908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5C2CDF6-E385-406B-8A6F-BE8434C61218}"/>
              </a:ext>
            </a:extLst>
          </p:cNvPr>
          <p:cNvSpPr/>
          <p:nvPr/>
        </p:nvSpPr>
        <p:spPr>
          <a:xfrm>
            <a:off x="9836891" y="5361713"/>
            <a:ext cx="586372" cy="1908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ABCDFC8-1814-491D-BC3B-99F1206B6D0C}"/>
              </a:ext>
            </a:extLst>
          </p:cNvPr>
          <p:cNvSpPr/>
          <p:nvPr/>
        </p:nvSpPr>
        <p:spPr>
          <a:xfrm>
            <a:off x="7059799" y="5086927"/>
            <a:ext cx="850532" cy="460800"/>
          </a:xfrm>
          <a:prstGeom prst="rect">
            <a:avLst/>
          </a:prstGeom>
          <a:solidFill>
            <a:srgbClr val="CC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4CF82BE-57CF-4067-8B08-8CB4D2D2371D}"/>
              </a:ext>
            </a:extLst>
          </p:cNvPr>
          <p:cNvSpPr/>
          <p:nvPr/>
        </p:nvSpPr>
        <p:spPr>
          <a:xfrm>
            <a:off x="7059801" y="5086926"/>
            <a:ext cx="586372" cy="46080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FE5B92B-BD73-4686-B783-E0AD42E57A6F}"/>
              </a:ext>
            </a:extLst>
          </p:cNvPr>
          <p:cNvSpPr/>
          <p:nvPr/>
        </p:nvSpPr>
        <p:spPr>
          <a:xfrm>
            <a:off x="4294687" y="5079725"/>
            <a:ext cx="850532" cy="468000"/>
          </a:xfrm>
          <a:prstGeom prst="rect">
            <a:avLst/>
          </a:prstGeom>
          <a:solidFill>
            <a:srgbClr val="800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2F4C453-8B7F-4EFF-BA78-830C787F7B99}"/>
              </a:ext>
            </a:extLst>
          </p:cNvPr>
          <p:cNvSpPr/>
          <p:nvPr/>
        </p:nvSpPr>
        <p:spPr>
          <a:xfrm>
            <a:off x="4285260" y="5079726"/>
            <a:ext cx="586372" cy="468000"/>
          </a:xfrm>
          <a:prstGeom prst="rect">
            <a:avLst/>
          </a:prstGeom>
          <a:solidFill>
            <a:srgbClr val="CC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25B790-32AD-4EF7-AEF0-55BFF6AD6EC5}"/>
              </a:ext>
            </a:extLst>
          </p:cNvPr>
          <p:cNvGrpSpPr/>
          <p:nvPr/>
        </p:nvGrpSpPr>
        <p:grpSpPr>
          <a:xfrm>
            <a:off x="-1655830" y="1024385"/>
            <a:ext cx="1655830" cy="1382581"/>
            <a:chOff x="5294947" y="2750619"/>
            <a:chExt cx="1655830" cy="1382581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AA528EF-368A-407A-AE3D-7CA2B77266AA}"/>
                </a:ext>
              </a:extLst>
            </p:cNvPr>
            <p:cNvSpPr/>
            <p:nvPr/>
          </p:nvSpPr>
          <p:spPr>
            <a:xfrm>
              <a:off x="5700000" y="2750619"/>
              <a:ext cx="792000" cy="7920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18D803F-7F7F-4F7E-A6C0-6F52C8BDA043}"/>
                </a:ext>
              </a:extLst>
            </p:cNvPr>
            <p:cNvSpPr/>
            <p:nvPr/>
          </p:nvSpPr>
          <p:spPr>
            <a:xfrm>
              <a:off x="5700000" y="3103725"/>
              <a:ext cx="792000" cy="7920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2400" dirty="0"/>
                <a:t>R.I.P.</a:t>
              </a:r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2FABBA20-0A3D-46B6-9E02-66D5B891AEB1}"/>
                </a:ext>
              </a:extLst>
            </p:cNvPr>
            <p:cNvSpPr/>
            <p:nvPr/>
          </p:nvSpPr>
          <p:spPr>
            <a:xfrm>
              <a:off x="5457694" y="3895725"/>
              <a:ext cx="1286006" cy="23747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6085412-A667-44BB-B9EE-BA4F2B53B4CE}"/>
                </a:ext>
              </a:extLst>
            </p:cNvPr>
            <p:cNvCxnSpPr>
              <a:cxnSpLocks/>
            </p:cNvCxnSpPr>
            <p:nvPr/>
          </p:nvCxnSpPr>
          <p:spPr>
            <a:xfrm>
              <a:off x="5294947" y="4133200"/>
              <a:ext cx="165583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72934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4619EF-E9DC-413C-97FC-6F133352D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502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4619EF-E9DC-413C-97FC-6F133352D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Rectangle 105">
            <a:extLst>
              <a:ext uri="{FF2B5EF4-FFF2-40B4-BE49-F238E27FC236}">
                <a16:creationId xmlns:a16="http://schemas.microsoft.com/office/drawing/2014/main" id="{DB385B72-7AC1-4AA3-9178-54552E084DF8}"/>
              </a:ext>
            </a:extLst>
          </p:cNvPr>
          <p:cNvSpPr/>
          <p:nvPr/>
        </p:nvSpPr>
        <p:spPr>
          <a:xfrm>
            <a:off x="10163175" y="5513447"/>
            <a:ext cx="211932" cy="457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83EE2DB-743B-423E-BE4F-28CF7C5F52FC}"/>
              </a:ext>
            </a:extLst>
          </p:cNvPr>
          <p:cNvCxnSpPr>
            <a:cxnSpLocks/>
          </p:cNvCxnSpPr>
          <p:nvPr/>
        </p:nvCxnSpPr>
        <p:spPr>
          <a:xfrm>
            <a:off x="1008668" y="5580668"/>
            <a:ext cx="10397765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2115B0F-C36D-49D8-A9B5-11DB16BF3440}"/>
              </a:ext>
            </a:extLst>
          </p:cNvPr>
          <p:cNvSpPr/>
          <p:nvPr/>
        </p:nvSpPr>
        <p:spPr>
          <a:xfrm>
            <a:off x="4510088" y="5499297"/>
            <a:ext cx="461962" cy="81372"/>
          </a:xfrm>
          <a:prstGeom prst="rect">
            <a:avLst/>
          </a:prstGeom>
          <a:solidFill>
            <a:srgbClr val="800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2809AB6-B8D6-47EE-976E-C53C8246CCB6}"/>
              </a:ext>
            </a:extLst>
          </p:cNvPr>
          <p:cNvSpPr/>
          <p:nvPr/>
        </p:nvSpPr>
        <p:spPr>
          <a:xfrm>
            <a:off x="1342869" y="5362478"/>
            <a:ext cx="1174985" cy="232938"/>
          </a:xfrm>
          <a:prstGeom prst="rect">
            <a:avLst/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D5487B16-6B59-4A04-A3F9-7989387821AC}"/>
              </a:ext>
            </a:extLst>
          </p:cNvPr>
          <p:cNvGrpSpPr/>
          <p:nvPr/>
        </p:nvGrpSpPr>
        <p:grpSpPr>
          <a:xfrm>
            <a:off x="1082534" y="420914"/>
            <a:ext cx="1695657" cy="3917586"/>
            <a:chOff x="4798191" y="682171"/>
            <a:chExt cx="1695657" cy="3917586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D208762-415D-49D0-B6B3-F13FC77F35C6}"/>
                </a:ext>
              </a:extLst>
            </p:cNvPr>
            <p:cNvGrpSpPr/>
            <p:nvPr/>
          </p:nvGrpSpPr>
          <p:grpSpPr>
            <a:xfrm>
              <a:off x="4798191" y="682171"/>
              <a:ext cx="1695657" cy="3917586"/>
              <a:chOff x="4798191" y="682171"/>
              <a:chExt cx="1695657" cy="3917586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A8B73607-03D6-47EC-85BA-83320E9F74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591E219-26AE-4C24-A45F-20EC2A58D824}"/>
                  </a:ext>
                </a:extLst>
              </p:cNvPr>
              <p:cNvGrpSpPr/>
              <p:nvPr/>
            </p:nvGrpSpPr>
            <p:grpSpPr>
              <a:xfrm>
                <a:off x="5220233" y="2628475"/>
                <a:ext cx="850532" cy="334804"/>
                <a:chOff x="1588292" y="3046686"/>
                <a:chExt cx="1165389" cy="458744"/>
              </a:xfrm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40A62A94-99C4-4DFF-B5A3-D03B6E69FC2C}"/>
                    </a:ext>
                  </a:extLst>
                </p:cNvPr>
                <p:cNvSpPr/>
                <p:nvPr/>
              </p:nvSpPr>
              <p:spPr>
                <a:xfrm>
                  <a:off x="1588292" y="3046686"/>
                  <a:ext cx="1165389" cy="458739"/>
                </a:xfrm>
                <a:prstGeom prst="rect">
                  <a:avLst/>
                </a:prstGeom>
                <a:solidFill>
                  <a:srgbClr val="FF00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39A5CAFF-1BCE-47EE-B7A6-2937909FBCC8}"/>
                    </a:ext>
                  </a:extLst>
                </p:cNvPr>
                <p:cNvSpPr/>
                <p:nvPr/>
              </p:nvSpPr>
              <p:spPr>
                <a:xfrm>
                  <a:off x="1588292" y="3046691"/>
                  <a:ext cx="803440" cy="458739"/>
                </a:xfrm>
                <a:prstGeom prst="rect">
                  <a:avLst/>
                </a:prstGeom>
                <a:solidFill>
                  <a:srgbClr val="FF7C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8D9EE6EE-FE14-42ED-B3E4-01726BF15EEC}"/>
                  </a:ext>
                </a:extLst>
              </p:cNvPr>
              <p:cNvSpPr txBox="1"/>
              <p:nvPr/>
            </p:nvSpPr>
            <p:spPr>
              <a:xfrm>
                <a:off x="4798191" y="4014982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9.4%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EEAAA68-5E4F-4F95-B54E-B243F2970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2E01717-752F-4319-A51A-ACA3908CB0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0FE5371-0646-4DD9-841A-0683A22E8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558D66F-2CF6-46EA-A0FF-CA324FFF1494}"/>
              </a:ext>
            </a:extLst>
          </p:cNvPr>
          <p:cNvGrpSpPr/>
          <p:nvPr/>
        </p:nvGrpSpPr>
        <p:grpSpPr>
          <a:xfrm>
            <a:off x="9446415" y="420914"/>
            <a:ext cx="1695657" cy="5011162"/>
            <a:chOff x="4830797" y="682171"/>
            <a:chExt cx="1695657" cy="5011162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B9F16917-50A7-4A3C-A489-206523DD01EE}"/>
                </a:ext>
              </a:extLst>
            </p:cNvPr>
            <p:cNvGrpSpPr/>
            <p:nvPr/>
          </p:nvGrpSpPr>
          <p:grpSpPr>
            <a:xfrm>
              <a:off x="4830797" y="682171"/>
              <a:ext cx="1695657" cy="5011162"/>
              <a:chOff x="4830797" y="682171"/>
              <a:chExt cx="1695657" cy="5011162"/>
            </a:xfrm>
          </p:grpSpPr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id="{E95A00B7-D937-4812-A81C-F5046F753B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D97785EF-AD80-4AFA-8DDD-7E3B6493BBC2}"/>
                  </a:ext>
                </a:extLst>
              </p:cNvPr>
              <p:cNvGrpSpPr/>
              <p:nvPr/>
            </p:nvGrpSpPr>
            <p:grpSpPr>
              <a:xfrm>
                <a:off x="5221273" y="1930366"/>
                <a:ext cx="850532" cy="1040403"/>
                <a:chOff x="1589716" y="2090146"/>
                <a:chExt cx="1165389" cy="1425546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1124C4EA-5A77-4320-9400-0C2C9640149E}"/>
                    </a:ext>
                  </a:extLst>
                </p:cNvPr>
                <p:cNvSpPr/>
                <p:nvPr/>
              </p:nvSpPr>
              <p:spPr>
                <a:xfrm>
                  <a:off x="1589716" y="2090146"/>
                  <a:ext cx="1165389" cy="1425542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7AFE12A9-0982-4DCE-B4E1-946DC5175041}"/>
                    </a:ext>
                  </a:extLst>
                </p:cNvPr>
                <p:cNvSpPr/>
                <p:nvPr/>
              </p:nvSpPr>
              <p:spPr>
                <a:xfrm>
                  <a:off x="1589717" y="2090150"/>
                  <a:ext cx="803440" cy="1425542"/>
                </a:xfrm>
                <a:prstGeom prst="rect">
                  <a:avLst/>
                </a:pr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2BB37E2-115E-40EC-AA62-F9D2DD545436}"/>
                  </a:ext>
                </a:extLst>
              </p:cNvPr>
              <p:cNvSpPr txBox="1"/>
              <p:nvPr/>
            </p:nvSpPr>
            <p:spPr>
              <a:xfrm>
                <a:off x="4830797" y="5108558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1.3%</a:t>
                </a:r>
              </a:p>
            </p:txBody>
          </p:sp>
        </p:grp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0761FB1B-CE70-4F4A-8F8E-B62B8DB2C9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19841230-AB8B-4DE2-BF16-B0AADE12F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0AB10A7C-3315-4A14-91BA-635889D21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B070AEB-E5EB-4148-93F6-1E8BC002B9FE}"/>
              </a:ext>
            </a:extLst>
          </p:cNvPr>
          <p:cNvGrpSpPr/>
          <p:nvPr/>
        </p:nvGrpSpPr>
        <p:grpSpPr>
          <a:xfrm>
            <a:off x="6664053" y="420914"/>
            <a:ext cx="1695657" cy="4754629"/>
            <a:chOff x="4825526" y="682171"/>
            <a:chExt cx="1695657" cy="4754629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74EEE82-6A7E-40E4-A83C-F2D24A32EFD9}"/>
                </a:ext>
              </a:extLst>
            </p:cNvPr>
            <p:cNvGrpSpPr/>
            <p:nvPr/>
          </p:nvGrpSpPr>
          <p:grpSpPr>
            <a:xfrm>
              <a:off x="4825526" y="682171"/>
              <a:ext cx="1695657" cy="4754629"/>
              <a:chOff x="4825526" y="682171"/>
              <a:chExt cx="1695657" cy="4754629"/>
            </a:xfrm>
          </p:grpSpPr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4469702B-9740-4367-A78B-111BE684D4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9176B25A-7766-4B87-9EB8-840649F1D705}"/>
                  </a:ext>
                </a:extLst>
              </p:cNvPr>
              <p:cNvGrpSpPr/>
              <p:nvPr/>
            </p:nvGrpSpPr>
            <p:grpSpPr>
              <a:xfrm>
                <a:off x="5229986" y="2151490"/>
                <a:ext cx="850532" cy="806401"/>
                <a:chOff x="1601655" y="2393128"/>
                <a:chExt cx="1165389" cy="1104920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AB18BAB-0C51-4115-9C72-0B5D81F9C027}"/>
                    </a:ext>
                  </a:extLst>
                </p:cNvPr>
                <p:cNvSpPr/>
                <p:nvPr/>
              </p:nvSpPr>
              <p:spPr>
                <a:xfrm>
                  <a:off x="1601655" y="2393128"/>
                  <a:ext cx="1165389" cy="1104919"/>
                </a:xfrm>
                <a:prstGeom prst="rect">
                  <a:avLst/>
                </a:prstGeom>
                <a:solidFill>
                  <a:srgbClr val="CC99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77E7D51F-62A6-4DFE-818D-AB17491A70FB}"/>
                    </a:ext>
                  </a:extLst>
                </p:cNvPr>
                <p:cNvSpPr/>
                <p:nvPr/>
              </p:nvSpPr>
              <p:spPr>
                <a:xfrm>
                  <a:off x="1601658" y="2393128"/>
                  <a:ext cx="803440" cy="1104920"/>
                </a:xfrm>
                <a:prstGeom prst="rect">
                  <a:avLst/>
                </a:prstGeom>
                <a:solidFill>
                  <a:srgbClr val="FF99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34C7E7F-E823-462A-AEBC-8384B326B8DE}"/>
                  </a:ext>
                </a:extLst>
              </p:cNvPr>
              <p:cNvSpPr txBox="1"/>
              <p:nvPr/>
            </p:nvSpPr>
            <p:spPr>
              <a:xfrm>
                <a:off x="4825526" y="4852025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3.3%</a:t>
                </a:r>
              </a:p>
            </p:txBody>
          </p:sp>
        </p:grp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EA469CF0-A6CE-4938-947B-640571676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012BF918-B425-406B-A368-A31D14214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C30AECB0-09C9-4586-B13C-46A88D17F4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1D921D3-3D0A-45DB-B12B-7D592540F533}"/>
              </a:ext>
            </a:extLst>
          </p:cNvPr>
          <p:cNvGrpSpPr/>
          <p:nvPr/>
        </p:nvGrpSpPr>
        <p:grpSpPr>
          <a:xfrm>
            <a:off x="3881691" y="420914"/>
            <a:ext cx="1695657" cy="4728408"/>
            <a:chOff x="4820256" y="682171"/>
            <a:chExt cx="1695657" cy="4728408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3EC5E745-7D6B-43CF-ADB1-757D0CAE8F49}"/>
                </a:ext>
              </a:extLst>
            </p:cNvPr>
            <p:cNvGrpSpPr/>
            <p:nvPr/>
          </p:nvGrpSpPr>
          <p:grpSpPr>
            <a:xfrm>
              <a:off x="4820256" y="682171"/>
              <a:ext cx="1695657" cy="4728408"/>
              <a:chOff x="4820256" y="682171"/>
              <a:chExt cx="1695657" cy="4728408"/>
            </a:xfrm>
          </p:grpSpPr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64AF559F-FAF0-48CC-B934-9761E79655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58527" y="682171"/>
                <a:ext cx="1174985" cy="3121705"/>
              </a:xfrm>
              <a:prstGeom prst="rect">
                <a:avLst/>
              </a:prstGeom>
            </p:spPr>
          </p:pic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4042498F-A6D1-4F18-B62B-FD24AC84FBFA}"/>
                  </a:ext>
                </a:extLst>
              </p:cNvPr>
              <p:cNvGrpSpPr/>
              <p:nvPr/>
            </p:nvGrpSpPr>
            <p:grpSpPr>
              <a:xfrm>
                <a:off x="5215815" y="2333274"/>
                <a:ext cx="859959" cy="630002"/>
                <a:chOff x="1582238" y="2642204"/>
                <a:chExt cx="1178306" cy="863220"/>
              </a:xfrm>
            </p:grpSpPr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89C5B378-B9D2-423A-862B-389B1726B63D}"/>
                    </a:ext>
                  </a:extLst>
                </p:cNvPr>
                <p:cNvSpPr/>
                <p:nvPr/>
              </p:nvSpPr>
              <p:spPr>
                <a:xfrm>
                  <a:off x="1595155" y="2642204"/>
                  <a:ext cx="1165389" cy="863217"/>
                </a:xfrm>
                <a:prstGeom prst="rect">
                  <a:avLst/>
                </a:prstGeom>
                <a:solidFill>
                  <a:srgbClr val="800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5B9EE71E-BD14-406E-B7B3-66F91C967A25}"/>
                    </a:ext>
                  </a:extLst>
                </p:cNvPr>
                <p:cNvSpPr/>
                <p:nvPr/>
              </p:nvSpPr>
              <p:spPr>
                <a:xfrm>
                  <a:off x="1582238" y="2642205"/>
                  <a:ext cx="803440" cy="863219"/>
                </a:xfrm>
                <a:prstGeom prst="rect">
                  <a:avLst/>
                </a:prstGeom>
                <a:solidFill>
                  <a:srgbClr val="CC00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E9D5CFB-7D1C-4A13-8C7C-593EC6DDF3B7}"/>
                  </a:ext>
                </a:extLst>
              </p:cNvPr>
              <p:cNvSpPr txBox="1"/>
              <p:nvPr/>
            </p:nvSpPr>
            <p:spPr>
              <a:xfrm>
                <a:off x="4820256" y="4825804"/>
                <a:ext cx="169565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3200" dirty="0">
                    <a:solidFill>
                      <a:srgbClr val="ED6655"/>
                    </a:solidFill>
                    <a:latin typeface="Bahnschrift" panose="020B0502040204020203" pitchFamily="34" charset="0"/>
                  </a:rPr>
                  <a:t>3.4%</a:t>
                </a:r>
              </a:p>
            </p:txBody>
          </p:sp>
        </p:grp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624DA0E-89E3-481B-A761-7E92A94DB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4" y="1877717"/>
              <a:ext cx="294286" cy="99216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09A35BD3-5701-4996-9BF2-CA76E10E0E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3825" y="2223347"/>
              <a:ext cx="294286" cy="99216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1733AD99-95FB-4048-B082-2632191CB9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21275" y="2568977"/>
              <a:ext cx="294286" cy="99216"/>
            </a:xfrm>
            <a:prstGeom prst="rect">
              <a:avLst/>
            </a:prstGeom>
          </p:spPr>
        </p:pic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319C0CE-D873-44A2-86C1-4F7CF216D23C}"/>
              </a:ext>
            </a:extLst>
          </p:cNvPr>
          <p:cNvSpPr txBox="1"/>
          <p:nvPr/>
        </p:nvSpPr>
        <p:spPr>
          <a:xfrm>
            <a:off x="1390499" y="1974585"/>
            <a:ext cx="10183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24%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BB14C09A-16BC-49A5-95FE-B62875F788BD}"/>
              </a:ext>
            </a:extLst>
          </p:cNvPr>
          <p:cNvSpPr txBox="1"/>
          <p:nvPr/>
        </p:nvSpPr>
        <p:spPr>
          <a:xfrm>
            <a:off x="4164452" y="1708678"/>
            <a:ext cx="1045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45%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9998BA4-BC58-4BCF-918F-11C8012B1DBE}"/>
              </a:ext>
            </a:extLst>
          </p:cNvPr>
          <p:cNvSpPr txBox="1"/>
          <p:nvPr/>
        </p:nvSpPr>
        <p:spPr>
          <a:xfrm>
            <a:off x="6950777" y="1531262"/>
            <a:ext cx="1050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53%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F1C7F73-15C5-48BC-9CC0-C33EA3AEA977}"/>
              </a:ext>
            </a:extLst>
          </p:cNvPr>
          <p:cNvSpPr txBox="1"/>
          <p:nvPr/>
        </p:nvSpPr>
        <p:spPr>
          <a:xfrm>
            <a:off x="9718635" y="1274555"/>
            <a:ext cx="10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75%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B957666-669E-4E18-B095-DB2E1608C527}"/>
              </a:ext>
            </a:extLst>
          </p:cNvPr>
          <p:cNvSpPr txBox="1"/>
          <p:nvPr/>
        </p:nvSpPr>
        <p:spPr>
          <a:xfrm>
            <a:off x="1082534" y="5714230"/>
            <a:ext cx="1695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FF0066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GB" dirty="0"/>
              <a:t>Renda </a:t>
            </a:r>
            <a:r>
              <a:rPr lang="en-GB" dirty="0" err="1"/>
              <a:t>Baixa</a:t>
            </a:r>
            <a:endParaRPr lang="en-GB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5B11BAC-BEF4-4027-9C41-B51CD7C5E534}"/>
              </a:ext>
            </a:extLst>
          </p:cNvPr>
          <p:cNvSpPr txBox="1"/>
          <p:nvPr/>
        </p:nvSpPr>
        <p:spPr>
          <a:xfrm>
            <a:off x="3859625" y="5714230"/>
            <a:ext cx="1695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2400">
                <a:solidFill>
                  <a:srgbClr val="FF0066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GB" sz="1800" dirty="0">
                <a:solidFill>
                  <a:srgbClr val="800080"/>
                </a:solidFill>
              </a:rPr>
              <a:t>Renda </a:t>
            </a:r>
            <a:r>
              <a:rPr lang="en-GB" sz="1800" dirty="0" err="1">
                <a:solidFill>
                  <a:srgbClr val="800080"/>
                </a:solidFill>
              </a:rPr>
              <a:t>Mitja</a:t>
            </a:r>
            <a:r>
              <a:rPr lang="en-GB" sz="1800" dirty="0">
                <a:solidFill>
                  <a:srgbClr val="800080"/>
                </a:solidFill>
              </a:rPr>
              <a:t> </a:t>
            </a:r>
            <a:r>
              <a:rPr lang="en-GB" sz="1800" dirty="0" err="1">
                <a:solidFill>
                  <a:srgbClr val="800080"/>
                </a:solidFill>
              </a:rPr>
              <a:t>Baixa</a:t>
            </a:r>
            <a:endParaRPr lang="en-GB" sz="1800" dirty="0">
              <a:solidFill>
                <a:srgbClr val="800080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9F6DB27-BC4D-47AE-AF0F-D20817054D7A}"/>
              </a:ext>
            </a:extLst>
          </p:cNvPr>
          <p:cNvSpPr txBox="1"/>
          <p:nvPr/>
        </p:nvSpPr>
        <p:spPr>
          <a:xfrm>
            <a:off x="6636716" y="5714230"/>
            <a:ext cx="1695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800080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GB" dirty="0">
                <a:solidFill>
                  <a:srgbClr val="CC9900"/>
                </a:solidFill>
              </a:rPr>
              <a:t>Renda </a:t>
            </a:r>
            <a:r>
              <a:rPr lang="en-GB" dirty="0" err="1">
                <a:solidFill>
                  <a:srgbClr val="CC9900"/>
                </a:solidFill>
              </a:rPr>
              <a:t>Mitja</a:t>
            </a:r>
            <a:r>
              <a:rPr lang="en-GB" dirty="0">
                <a:solidFill>
                  <a:srgbClr val="CC9900"/>
                </a:solidFill>
              </a:rPr>
              <a:t> Alta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78EDBC4-84B4-481F-9875-BA9696888C25}"/>
              </a:ext>
            </a:extLst>
          </p:cNvPr>
          <p:cNvSpPr txBox="1"/>
          <p:nvPr/>
        </p:nvSpPr>
        <p:spPr>
          <a:xfrm>
            <a:off x="9413807" y="5714230"/>
            <a:ext cx="1695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rgbClr val="800080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en-GB" dirty="0">
                <a:solidFill>
                  <a:srgbClr val="00B050"/>
                </a:solidFill>
              </a:rPr>
              <a:t>Renda Alta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25B790-32AD-4EF7-AEF0-55BFF6AD6EC5}"/>
              </a:ext>
            </a:extLst>
          </p:cNvPr>
          <p:cNvGrpSpPr/>
          <p:nvPr/>
        </p:nvGrpSpPr>
        <p:grpSpPr>
          <a:xfrm>
            <a:off x="-1655830" y="1024385"/>
            <a:ext cx="1655830" cy="1382581"/>
            <a:chOff x="5294947" y="2750619"/>
            <a:chExt cx="1655830" cy="1382581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AA528EF-368A-407A-AE3D-7CA2B77266AA}"/>
                </a:ext>
              </a:extLst>
            </p:cNvPr>
            <p:cNvSpPr/>
            <p:nvPr/>
          </p:nvSpPr>
          <p:spPr>
            <a:xfrm>
              <a:off x="5700000" y="2750619"/>
              <a:ext cx="792000" cy="7920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18D803F-7F7F-4F7E-A6C0-6F52C8BDA043}"/>
                </a:ext>
              </a:extLst>
            </p:cNvPr>
            <p:cNvSpPr/>
            <p:nvPr/>
          </p:nvSpPr>
          <p:spPr>
            <a:xfrm>
              <a:off x="5700000" y="3103725"/>
              <a:ext cx="792000" cy="79200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2400" dirty="0"/>
                <a:t>R.I.P.</a:t>
              </a:r>
            </a:p>
          </p:txBody>
        </p:sp>
        <p:sp>
          <p:nvSpPr>
            <p:cNvPr id="5" name="Rectangle: Top Corners Rounded 4">
              <a:extLst>
                <a:ext uri="{FF2B5EF4-FFF2-40B4-BE49-F238E27FC236}">
                  <a16:creationId xmlns:a16="http://schemas.microsoft.com/office/drawing/2014/main" id="{2FABBA20-0A3D-46B6-9E02-66D5B891AEB1}"/>
                </a:ext>
              </a:extLst>
            </p:cNvPr>
            <p:cNvSpPr/>
            <p:nvPr/>
          </p:nvSpPr>
          <p:spPr>
            <a:xfrm>
              <a:off x="5457694" y="3895725"/>
              <a:ext cx="1286006" cy="237475"/>
            </a:xfrm>
            <a:prstGeom prst="round2Same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6085412-A667-44BB-B9EE-BA4F2B53B4CE}"/>
                </a:ext>
              </a:extLst>
            </p:cNvPr>
            <p:cNvCxnSpPr>
              <a:cxnSpLocks/>
            </p:cNvCxnSpPr>
            <p:nvPr/>
          </p:nvCxnSpPr>
          <p:spPr>
            <a:xfrm>
              <a:off x="5294947" y="4133200"/>
              <a:ext cx="165583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4BE9795-9B54-43F9-9773-AEB1C2EB7F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230116" y="3753725"/>
            <a:ext cx="1148571" cy="964800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CA2F51CE-939B-4F0A-87F5-007DFC697F3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4864" y="4289288"/>
            <a:ext cx="1552011" cy="130369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D1304577-1C9A-4E2F-B757-7ACD15777C63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52431" y="5079725"/>
            <a:ext cx="605345" cy="508490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371A7E6A-108C-4C50-9DA5-F939375FEBC5}"/>
              </a:ext>
            </a:extLst>
          </p:cNvPr>
          <p:cNvSpPr/>
          <p:nvPr/>
        </p:nvSpPr>
        <p:spPr>
          <a:xfrm>
            <a:off x="7263695" y="5499297"/>
            <a:ext cx="458700" cy="88918"/>
          </a:xfrm>
          <a:prstGeom prst="rect">
            <a:avLst/>
          </a:prstGeom>
          <a:solidFill>
            <a:srgbClr val="CC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9D8117-EF99-42E3-93A4-D0576F36424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01235" y="5079725"/>
            <a:ext cx="605345" cy="508490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AF2CF5DB-A56E-43CF-8340-1D490BC87A87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34600" y="5317708"/>
            <a:ext cx="277307" cy="23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720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2C48AA-9DA1-49BB-9B06-B2373F2AA3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251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2C48AA-9DA1-49BB-9B06-B2373F2AA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E3E93DC4-43D1-4371-9FA0-C16DDC349257}"/>
              </a:ext>
            </a:extLst>
          </p:cNvPr>
          <p:cNvSpPr/>
          <p:nvPr/>
        </p:nvSpPr>
        <p:spPr>
          <a:xfrm>
            <a:off x="348343" y="182880"/>
            <a:ext cx="11373394" cy="655755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E6591FE5-EB73-40EB-A16D-196C243A4F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323" y="414266"/>
            <a:ext cx="10443353" cy="602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34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>
            <a:extLst>
              <a:ext uri="{FF2B5EF4-FFF2-40B4-BE49-F238E27FC236}">
                <a16:creationId xmlns:a16="http://schemas.microsoft.com/office/drawing/2014/main" id="{9BC454BB-D89E-4347-893B-7A33805D5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878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62" name="Object 61" hidden="1">
                        <a:extLst>
                          <a:ext uri="{FF2B5EF4-FFF2-40B4-BE49-F238E27FC236}">
                            <a16:creationId xmlns:a16="http://schemas.microsoft.com/office/drawing/2014/main" id="{9BC454BB-D89E-4347-893B-7A33805D5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Picture 60">
            <a:extLst>
              <a:ext uri="{FF2B5EF4-FFF2-40B4-BE49-F238E27FC236}">
                <a16:creationId xmlns:a16="http://schemas.microsoft.com/office/drawing/2014/main" id="{9EE83AEC-170C-48AF-86A4-6908AACDC5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b="48828"/>
          <a:stretch/>
        </p:blipFill>
        <p:spPr>
          <a:xfrm>
            <a:off x="874323" y="557083"/>
            <a:ext cx="10443353" cy="3135351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6153963-3ED2-4724-8F6A-62792CD2808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t="56005" b="3771"/>
          <a:stretch/>
        </p:blipFill>
        <p:spPr>
          <a:xfrm>
            <a:off x="874323" y="3988526"/>
            <a:ext cx="10443353" cy="246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147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>
            <a:extLst>
              <a:ext uri="{FF2B5EF4-FFF2-40B4-BE49-F238E27FC236}">
                <a16:creationId xmlns:a16="http://schemas.microsoft.com/office/drawing/2014/main" id="{9BC454BB-D89E-4347-893B-7A33805D5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62" name="Object 61" hidden="1">
                        <a:extLst>
                          <a:ext uri="{FF2B5EF4-FFF2-40B4-BE49-F238E27FC236}">
                            <a16:creationId xmlns:a16="http://schemas.microsoft.com/office/drawing/2014/main" id="{9BC454BB-D89E-4347-893B-7A33805D5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10A0BA40-3728-4680-982A-52740D8D9B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323" y="414266"/>
            <a:ext cx="10443353" cy="602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0358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Widescreen</PresentationFormat>
  <Paragraphs>2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Bahnschrift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 Pelaez</dc:creator>
  <cp:lastModifiedBy>Alex Pelaez</cp:lastModifiedBy>
  <cp:revision>3</cp:revision>
  <dcterms:created xsi:type="dcterms:W3CDTF">2022-06-12T09:46:39Z</dcterms:created>
  <dcterms:modified xsi:type="dcterms:W3CDTF">2022-06-13T00:39:21Z</dcterms:modified>
</cp:coreProperties>
</file>